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30.xml" ContentType="application/vnd.openxmlformats-officedocument.presentationml.tags+xml"/>
  <Override PartName="/ppt/notesSlides/notesSlide2.xml" ContentType="application/vnd.openxmlformats-officedocument.presentationml.notesSlide+xml"/>
  <Override PartName="/ppt/tags/tag31.xml" ContentType="application/vnd.openxmlformats-officedocument.presentationml.tags+xml"/>
  <Override PartName="/ppt/notesSlides/notesSlide3.xml" ContentType="application/vnd.openxmlformats-officedocument.presentationml.notesSlide+xml"/>
  <Override PartName="/ppt/charts/chart3.xml" ContentType="application/vnd.openxmlformats-officedocument.drawingml.chart+xml"/>
  <Override PartName="/ppt/charts/style1.xml" ContentType="application/vnd.ms-office.chartstyle+xml"/>
  <Override PartName="/ppt/charts/colors1.xml" ContentType="application/vnd.ms-office.chartcolorstyle+xml"/>
  <Override PartName="/ppt/tags/tag32.xml" ContentType="application/vnd.openxmlformats-officedocument.presentationml.tags+xml"/>
  <Override PartName="/ppt/charts/chart4.xml" ContentType="application/vnd.openxmlformats-officedocument.drawingml.chart+xml"/>
  <Override PartName="/ppt/charts/style2.xml" ContentType="application/vnd.ms-office.chartstyle+xml"/>
  <Override PartName="/ppt/charts/colors2.xml" ContentType="application/vnd.ms-office.chartcolorstyle+xml"/>
  <Override PartName="/ppt/tags/tag33.xml" ContentType="application/vnd.openxmlformats-officedocument.presentationml.tags+xml"/>
  <Override PartName="/ppt/notesSlides/notesSlide4.xml" ContentType="application/vnd.openxmlformats-officedocument.presentationml.notesSlide+xml"/>
  <Override PartName="/ppt/charts/chart5.xml" ContentType="application/vnd.openxmlformats-officedocument.drawingml.chart+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5.xml" ContentType="application/vnd.openxmlformats-officedocument.presentationml.notesSlide+xml"/>
  <Override PartName="/ppt/charts/chart6.xml" ContentType="application/vnd.openxmlformats-officedocument.drawingml.chart+xml"/>
  <Override PartName="/ppt/charts/chart7.xml" ContentType="application/vnd.openxmlformats-officedocument.drawingml.chart+xml"/>
  <Override PartName="/ppt/tags/tag38.xml" ContentType="application/vnd.openxmlformats-officedocument.presentationml.tags+xml"/>
  <Override PartName="/ppt/charts/chart8.xml" ContentType="application/vnd.openxmlformats-officedocument.drawingml.chart+xml"/>
  <Override PartName="/ppt/tags/tag39.xml" ContentType="application/vnd.openxmlformats-officedocument.presentationml.tags+xml"/>
  <Override PartName="/ppt/notesSlides/notesSlide6.xml" ContentType="application/vnd.openxmlformats-officedocument.presentationml.notesSlide+xml"/>
  <Override PartName="/ppt/charts/chart9.xml" ContentType="application/vnd.openxmlformats-officedocument.drawingml.chart+xml"/>
  <Override PartName="/ppt/charts/style3.xml" ContentType="application/vnd.ms-office.chartstyle+xml"/>
  <Override PartName="/ppt/charts/colors3.xml" ContentType="application/vnd.ms-office.chartcolorstyle+xml"/>
  <Override PartName="/ppt/tags/tag40.xml" ContentType="application/vnd.openxmlformats-officedocument.presentationml.tags+xml"/>
  <Override PartName="/ppt/notesSlides/notesSlide7.xml" ContentType="application/vnd.openxmlformats-officedocument.presentationml.notesSlide+xml"/>
  <Override PartName="/ppt/charts/chart10.xml" ContentType="application/vnd.openxmlformats-officedocument.drawingml.chart+xml"/>
  <Override PartName="/ppt/charts/style4.xml" ContentType="application/vnd.ms-office.chartstyle+xml"/>
  <Override PartName="/ppt/charts/colors4.xml" ContentType="application/vnd.ms-office.chartcolorstyle+xml"/>
  <Override PartName="/ppt/tags/tag41.xml" ContentType="application/vnd.openxmlformats-officedocument.presentationml.tags+xml"/>
  <Override PartName="/ppt/charts/chart11.xml" ContentType="application/vnd.openxmlformats-officedocument.drawingml.chart+xml"/>
  <Override PartName="/ppt/tags/tag42.xml" ContentType="application/vnd.openxmlformats-officedocument.presentationml.tags+xml"/>
  <Override PartName="/ppt/charts/chart12.xml" ContentType="application/vnd.openxmlformats-officedocument.drawingml.chart+xml"/>
  <Override PartName="/ppt/tags/tag43.xml" ContentType="application/vnd.openxmlformats-officedocument.presentationml.tags+xml"/>
  <Override PartName="/ppt/charts/chart13.xml" ContentType="application/vnd.openxmlformats-officedocument.drawingml.chart+xml"/>
  <Override PartName="/ppt/tags/tag44.xml" ContentType="application/vnd.openxmlformats-officedocument.presentationml.tags+xml"/>
  <Override PartName="/ppt/charts/chart14.xml" ContentType="application/vnd.openxmlformats-officedocument.drawingml.chart+xml"/>
  <Override PartName="/ppt/tags/tag45.xml" ContentType="application/vnd.openxmlformats-officedocument.presentationml.tags+xml"/>
  <Override PartName="/ppt/charts/chart15.xml" ContentType="application/vnd.openxmlformats-officedocument.drawingml.chart+xml"/>
  <Override PartName="/ppt/charts/style5.xml" ContentType="application/vnd.ms-office.chartstyle+xml"/>
  <Override PartName="/ppt/charts/colors5.xml" ContentType="application/vnd.ms-office.chartcolorstyle+xml"/>
  <Override PartName="/ppt/charts/chart16.xml" ContentType="application/vnd.openxmlformats-officedocument.drawingml.chart+xml"/>
  <Override PartName="/ppt/charts/style6.xml" ContentType="application/vnd.ms-office.chartstyle+xml"/>
  <Override PartName="/ppt/charts/colors6.xml" ContentType="application/vnd.ms-office.chartcolorstyle+xml"/>
  <Override PartName="/ppt/tags/tag46.xml" ContentType="application/vnd.openxmlformats-officedocument.presentationml.tags+xml"/>
  <Override PartName="/ppt/charts/chart17.xml" ContentType="application/vnd.openxmlformats-officedocument.drawingml.chart+xml"/>
  <Override PartName="/ppt/charts/style7.xml" ContentType="application/vnd.ms-office.chartstyle+xml"/>
  <Override PartName="/ppt/charts/colors7.xml" ContentType="application/vnd.ms-office.chartcolorstyle+xml"/>
  <Override PartName="/ppt/charts/chart18.xml" ContentType="application/vnd.openxmlformats-officedocument.drawingml.chart+xml"/>
  <Override PartName="/ppt/charts/style8.xml" ContentType="application/vnd.ms-office.chartstyle+xml"/>
  <Override PartName="/ppt/charts/colors8.xml" ContentType="application/vnd.ms-office.chartcolorstyle+xml"/>
  <Override PartName="/ppt/charts/chart19.xml" ContentType="application/vnd.openxmlformats-officedocument.drawingml.chart+xml"/>
  <Override PartName="/ppt/charts/style9.xml" ContentType="application/vnd.ms-office.chartstyle+xml"/>
  <Override PartName="/ppt/charts/colors9.xml" ContentType="application/vnd.ms-office.chartcolorstyle+xml"/>
  <Override PartName="/ppt/tags/tag47.xml" ContentType="application/vnd.openxmlformats-officedocument.presentationml.tags+xml"/>
  <Override PartName="/ppt/charts/chart2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2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2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23.xml" ContentType="application/vnd.openxmlformats-officedocument.drawingml.chart+xml"/>
  <Override PartName="/ppt/charts/style13.xml" ContentType="application/vnd.ms-office.chartstyle+xml"/>
  <Override PartName="/ppt/charts/colors13.xml" ContentType="application/vnd.ms-office.chartcolorstyle+xml"/>
  <Override PartName="/ppt/tags/tag48.xml" ContentType="application/vnd.openxmlformats-officedocument.presentationml.tags+xml"/>
  <Override PartName="/ppt/charts/chart2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25.xml" ContentType="application/vnd.openxmlformats-officedocument.drawingml.chart+xml"/>
  <Override PartName="/ppt/charts/style15.xml" ContentType="application/vnd.ms-office.chartstyle+xml"/>
  <Override PartName="/ppt/charts/colors15.xml" ContentType="application/vnd.ms-office.chartcolorstyle+xml"/>
  <Override PartName="/ppt/tags/tag49.xml" ContentType="application/vnd.openxmlformats-officedocument.presentationml.tags+xml"/>
  <Override PartName="/ppt/charts/chart26.xml" ContentType="application/vnd.openxmlformats-officedocument.drawingml.chart+xml"/>
  <Override PartName="/ppt/tags/tag50.xml" ContentType="application/vnd.openxmlformats-officedocument.presentationml.tags+xml"/>
  <Override PartName="/ppt/charts/chart27.xml" ContentType="application/vnd.openxmlformats-officedocument.drawingml.chart+xml"/>
  <Override PartName="/ppt/charts/chart28.xml" ContentType="application/vnd.openxmlformats-officedocument.drawingml.chart+xml"/>
  <Override PartName="/ppt/tags/tag51.xml" ContentType="application/vnd.openxmlformats-officedocument.presentationml.tags+xml"/>
  <Override PartName="/ppt/charts/chart29.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tags/tag52.xml" ContentType="application/vnd.openxmlformats-officedocument.presentationml.tags+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tags/tag53.xml" ContentType="application/vnd.openxmlformats-officedocument.presentationml.tags+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0.xml" ContentType="application/vnd.openxmlformats-officedocument.drawingml.chart+xml"/>
  <Override PartName="/ppt/tags/tag54.xml" ContentType="application/vnd.openxmlformats-officedocument.presentationml.tags+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tags/tag55.xml" ContentType="application/vnd.openxmlformats-officedocument.presentationml.tags+xml"/>
  <Override PartName="/ppt/notesSlides/notesSlide8.xml" ContentType="application/vnd.openxmlformats-officedocument.presentationml.notesSlide+xml"/>
  <Override PartName="/ppt/charts/chart47.xml" ContentType="application/vnd.openxmlformats-officedocument.drawingml.chart+xml"/>
  <Override PartName="/ppt/charts/style16.xml" ContentType="application/vnd.ms-office.chartstyle+xml"/>
  <Override PartName="/ppt/charts/colors16.xml" ContentType="application/vnd.ms-office.chartcolorstyle+xml"/>
  <Override PartName="/ppt/tags/tag56.xml" ContentType="application/vnd.openxmlformats-officedocument.presentationml.tags+xml"/>
  <Override PartName="/ppt/notesSlides/notesSlide9.xml" ContentType="application/vnd.openxmlformats-officedocument.presentationml.notesSlide+xml"/>
  <Override PartName="/ppt/charts/chart48.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49.xml" ContentType="application/vnd.openxmlformats-officedocument.drawingml.chart+xml"/>
  <Override PartName="/ppt/charts/style18.xml" ContentType="application/vnd.ms-office.chartstyle+xml"/>
  <Override PartName="/ppt/charts/colors18.xml" ContentType="application/vnd.ms-office.chartcolorstyle+xml"/>
  <Override PartName="/ppt/tags/tag57.xml" ContentType="application/vnd.openxmlformats-officedocument.presentationml.tags+xml"/>
  <Override PartName="/ppt/notesSlides/notesSlide10.xml" ContentType="application/vnd.openxmlformats-officedocument.presentationml.notesSlide+xml"/>
  <Override PartName="/ppt/charts/chart50.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51.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52.xml" ContentType="application/vnd.openxmlformats-officedocument.drawingml.chart+xml"/>
  <Override PartName="/ppt/charts/style21.xml" ContentType="application/vnd.ms-office.chartstyle+xml"/>
  <Override PartName="/ppt/charts/colors21.xml" ContentType="application/vnd.ms-office.chartcolorstyle+xml"/>
  <Override PartName="/ppt/tags/tag58.xml" ContentType="application/vnd.openxmlformats-officedocument.presentationml.tags+xml"/>
  <Override PartName="/ppt/notesSlides/notesSlide11.xml" ContentType="application/vnd.openxmlformats-officedocument.presentationml.notesSlide+xml"/>
  <Override PartName="/ppt/charts/chart53.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54.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55.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56.xml" ContentType="application/vnd.openxmlformats-officedocument.drawingml.chart+xml"/>
  <Override PartName="/ppt/charts/style25.xml" ContentType="application/vnd.ms-office.chartstyle+xml"/>
  <Override PartName="/ppt/charts/colors25.xml" ContentType="application/vnd.ms-office.chartcolorstyl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94" r:id="rId4"/>
  </p:sldMasterIdLst>
  <p:notesMasterIdLst>
    <p:notesMasterId r:id="rId36"/>
  </p:notesMasterIdLst>
  <p:sldIdLst>
    <p:sldId id="2147378506" r:id="rId5"/>
    <p:sldId id="2147329454" r:id="rId6"/>
    <p:sldId id="2147475152" r:id="rId7"/>
    <p:sldId id="2147475178" r:id="rId8"/>
    <p:sldId id="2147473013" r:id="rId9"/>
    <p:sldId id="2147475151" r:id="rId10"/>
    <p:sldId id="2147473025" r:id="rId11"/>
    <p:sldId id="2147473029" r:id="rId12"/>
    <p:sldId id="2147473030" r:id="rId13"/>
    <p:sldId id="2147378510" r:id="rId14"/>
    <p:sldId id="2147378508" r:id="rId15"/>
    <p:sldId id="2147472930" r:id="rId16"/>
    <p:sldId id="2147473037" r:id="rId17"/>
    <p:sldId id="2147378386" r:id="rId18"/>
    <p:sldId id="2147471718" r:id="rId19"/>
    <p:sldId id="2147475156" r:id="rId20"/>
    <p:sldId id="2147378154" r:id="rId21"/>
    <p:sldId id="2147378155" r:id="rId22"/>
    <p:sldId id="2147378156" r:id="rId23"/>
    <p:sldId id="2147378157" r:id="rId24"/>
    <p:sldId id="2147473882" r:id="rId25"/>
    <p:sldId id="2147475174" r:id="rId26"/>
    <p:sldId id="2147475173" r:id="rId27"/>
    <p:sldId id="2147475171" r:id="rId28"/>
    <p:sldId id="2147475170" r:id="rId29"/>
    <p:sldId id="370" r:id="rId30"/>
    <p:sldId id="2147475172" r:id="rId31"/>
    <p:sldId id="2147475182" r:id="rId32"/>
    <p:sldId id="2147475181" r:id="rId33"/>
    <p:sldId id="2147475180" r:id="rId34"/>
    <p:sldId id="2147475179" r:id="rId35"/>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219F46E-3B23-D09F-47AD-C779851D2CA1}" name="Sophie  ZIMMERMANN" initials="SZ" userId="S::zimmermann.s@pricing.one::a3ccab47-c860-43ce-9c7d-ef7907b0df29" providerId="AD"/>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EC2644B-FBB3-4E70-8177-D39ED5E85D5B}" v="17" dt="2024-11-01T09:06:09.73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7" autoAdjust="0"/>
    <p:restoredTop sz="94660"/>
  </p:normalViewPr>
  <p:slideViewPr>
    <p:cSldViewPr snapToGrid="0" showGuides="1">
      <p:cViewPr varScale="1">
        <p:scale>
          <a:sx n="125" d="100"/>
          <a:sy n="125" d="100"/>
        </p:scale>
        <p:origin x="199" y="41"/>
      </p:cViewPr>
      <p:guideLst>
        <p:guide orient="horz" pos="940"/>
        <p:guide pos="2880"/>
        <p:guide orient="horz" pos="172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heme" Target="theme/theme1.xml"/><Relationship Id="rId21" Type="http://schemas.openxmlformats.org/officeDocument/2006/relationships/slide" Target="slides/slide17.xml"/><Relationship Id="rId34" Type="http://schemas.openxmlformats.org/officeDocument/2006/relationships/slide" Target="slides/slide30.xml"/><Relationship Id="rId42" Type="http://schemas.microsoft.com/office/2015/10/relationships/revisionInfo" Target="revisionInfo.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microsoft.com/office/2018/10/relationships/authors" Target="author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eriman EL HADIDI" userId="4b24840c-84b3-44ac-9131-ca3568cb403b" providerId="ADAL" clId="{DEC2644B-FBB3-4E70-8177-D39ED5E85D5B}"/>
    <pc:docChg chg="custSel modSld delMainMaster">
      <pc:chgData name="Neriman EL HADIDI" userId="4b24840c-84b3-44ac-9131-ca3568cb403b" providerId="ADAL" clId="{DEC2644B-FBB3-4E70-8177-D39ED5E85D5B}" dt="2024-11-01T09:06:09.704" v="16" actId="27918"/>
      <pc:docMkLst>
        <pc:docMk/>
      </pc:docMkLst>
      <pc:sldChg chg="delSp mod">
        <pc:chgData name="Neriman EL HADIDI" userId="4b24840c-84b3-44ac-9131-ca3568cb403b" providerId="ADAL" clId="{DEC2644B-FBB3-4E70-8177-D39ED5E85D5B}" dt="2024-11-01T09:05:30.544" v="12" actId="478"/>
        <pc:sldMkLst>
          <pc:docMk/>
          <pc:sldMk cId="3644918162" sldId="370"/>
        </pc:sldMkLst>
        <pc:spChg chg="del">
          <ac:chgData name="Neriman EL HADIDI" userId="4b24840c-84b3-44ac-9131-ca3568cb403b" providerId="ADAL" clId="{DEC2644B-FBB3-4E70-8177-D39ED5E85D5B}" dt="2024-11-01T09:05:30.544" v="12" actId="478"/>
          <ac:spMkLst>
            <pc:docMk/>
            <pc:sldMk cId="3644918162" sldId="370"/>
            <ac:spMk id="2" creationId="{6F37D498-61D2-430B-0FFE-1D6053FC2C2E}"/>
          </ac:spMkLst>
        </pc:spChg>
        <pc:spChg chg="del">
          <ac:chgData name="Neriman EL HADIDI" userId="4b24840c-84b3-44ac-9131-ca3568cb403b" providerId="ADAL" clId="{DEC2644B-FBB3-4E70-8177-D39ED5E85D5B}" dt="2024-11-01T09:05:30.544" v="12" actId="478"/>
          <ac:spMkLst>
            <pc:docMk/>
            <pc:sldMk cId="3644918162" sldId="370"/>
            <ac:spMk id="3" creationId="{E672400A-1108-3E3C-7422-CBA7B51FF8C8}"/>
          </ac:spMkLst>
        </pc:spChg>
      </pc:sldChg>
      <pc:sldChg chg="modSp mod">
        <pc:chgData name="Neriman EL HADIDI" userId="4b24840c-84b3-44ac-9131-ca3568cb403b" providerId="ADAL" clId="{DEC2644B-FBB3-4E70-8177-D39ED5E85D5B}" dt="2024-11-01T09:06:09.704" v="16" actId="27918"/>
        <pc:sldMkLst>
          <pc:docMk/>
          <pc:sldMk cId="1411033201" sldId="408"/>
        </pc:sldMkLst>
        <pc:graphicFrameChg chg="mod">
          <ac:chgData name="Neriman EL HADIDI" userId="4b24840c-84b3-44ac-9131-ca3568cb403b" providerId="ADAL" clId="{DEC2644B-FBB3-4E70-8177-D39ED5E85D5B}" dt="2024-11-01T09:05:51.351" v="13"/>
          <ac:graphicFrameMkLst>
            <pc:docMk/>
            <pc:sldMk cId="1411033201" sldId="408"/>
            <ac:graphicFrameMk id="16" creationId="{1500463F-9113-F853-0F0E-F384F111BD54}"/>
          </ac:graphicFrameMkLst>
        </pc:graphicFrameChg>
      </pc:sldChg>
      <pc:sldChg chg="modSp">
        <pc:chgData name="Neriman EL HADIDI" userId="4b24840c-84b3-44ac-9131-ca3568cb403b" providerId="ADAL" clId="{DEC2644B-FBB3-4E70-8177-D39ED5E85D5B}" dt="2024-11-01T09:01:17.763" v="4"/>
        <pc:sldMkLst>
          <pc:docMk/>
          <pc:sldMk cId="2693478404" sldId="2147329454"/>
        </pc:sldMkLst>
        <pc:graphicFrameChg chg="mod">
          <ac:chgData name="Neriman EL HADIDI" userId="4b24840c-84b3-44ac-9131-ca3568cb403b" providerId="ADAL" clId="{DEC2644B-FBB3-4E70-8177-D39ED5E85D5B}" dt="2024-11-01T09:01:10.407" v="3"/>
          <ac:graphicFrameMkLst>
            <pc:docMk/>
            <pc:sldMk cId="2693478404" sldId="2147329454"/>
            <ac:graphicFrameMk id="16" creationId="{D7F2F964-1E28-4339-8493-893E64CC273B}"/>
          </ac:graphicFrameMkLst>
        </pc:graphicFrameChg>
        <pc:graphicFrameChg chg="mod">
          <ac:chgData name="Neriman EL HADIDI" userId="4b24840c-84b3-44ac-9131-ca3568cb403b" providerId="ADAL" clId="{DEC2644B-FBB3-4E70-8177-D39ED5E85D5B}" dt="2024-11-01T09:01:17.763" v="4"/>
          <ac:graphicFrameMkLst>
            <pc:docMk/>
            <pc:sldMk cId="2693478404" sldId="2147329454"/>
            <ac:graphicFrameMk id="22" creationId="{B6BC63DB-BB68-E22B-6F46-70632876165B}"/>
          </ac:graphicFrameMkLst>
        </pc:graphicFrameChg>
      </pc:sldChg>
      <pc:sldChg chg="modSp">
        <pc:chgData name="Neriman EL HADIDI" userId="4b24840c-84b3-44ac-9131-ca3568cb403b" providerId="ADAL" clId="{DEC2644B-FBB3-4E70-8177-D39ED5E85D5B}" dt="2024-11-01T09:04:49.391" v="10"/>
        <pc:sldMkLst>
          <pc:docMk/>
          <pc:sldMk cId="1340521327" sldId="2147378386"/>
        </pc:sldMkLst>
        <pc:graphicFrameChg chg="mod">
          <ac:chgData name="Neriman EL HADIDI" userId="4b24840c-84b3-44ac-9131-ca3568cb403b" providerId="ADAL" clId="{DEC2644B-FBB3-4E70-8177-D39ED5E85D5B}" dt="2024-11-01T09:04:49.391" v="10"/>
          <ac:graphicFrameMkLst>
            <pc:docMk/>
            <pc:sldMk cId="1340521327" sldId="2147378386"/>
            <ac:graphicFrameMk id="22" creationId="{BDCCA8F9-9B4E-4C69-981A-F30479D8A570}"/>
          </ac:graphicFrameMkLst>
        </pc:graphicFrameChg>
      </pc:sldChg>
      <pc:sldChg chg="modSp mod">
        <pc:chgData name="Neriman EL HADIDI" userId="4b24840c-84b3-44ac-9131-ca3568cb403b" providerId="ADAL" clId="{DEC2644B-FBB3-4E70-8177-D39ED5E85D5B}" dt="2024-11-01T09:00:54.519" v="2" actId="14100"/>
        <pc:sldMkLst>
          <pc:docMk/>
          <pc:sldMk cId="1380102355" sldId="2147378506"/>
        </pc:sldMkLst>
        <pc:graphicFrameChg chg="mod modGraphic">
          <ac:chgData name="Neriman EL HADIDI" userId="4b24840c-84b3-44ac-9131-ca3568cb403b" providerId="ADAL" clId="{DEC2644B-FBB3-4E70-8177-D39ED5E85D5B}" dt="2024-11-01T09:00:54.519" v="2" actId="14100"/>
          <ac:graphicFrameMkLst>
            <pc:docMk/>
            <pc:sldMk cId="1380102355" sldId="2147378506"/>
            <ac:graphicFrameMk id="3" creationId="{BF02A555-6E65-401F-8EC5-C5F12914697A}"/>
          </ac:graphicFrameMkLst>
        </pc:graphicFrameChg>
      </pc:sldChg>
      <pc:sldChg chg="modSp">
        <pc:chgData name="Neriman EL HADIDI" userId="4b24840c-84b3-44ac-9131-ca3568cb403b" providerId="ADAL" clId="{DEC2644B-FBB3-4E70-8177-D39ED5E85D5B}" dt="2024-11-01T09:03:55.942" v="9"/>
        <pc:sldMkLst>
          <pc:docMk/>
          <pc:sldMk cId="3546637518" sldId="2147378510"/>
        </pc:sldMkLst>
        <pc:graphicFrameChg chg="mod">
          <ac:chgData name="Neriman EL HADIDI" userId="4b24840c-84b3-44ac-9131-ca3568cb403b" providerId="ADAL" clId="{DEC2644B-FBB3-4E70-8177-D39ED5E85D5B}" dt="2024-11-01T09:03:55.942" v="9"/>
          <ac:graphicFrameMkLst>
            <pc:docMk/>
            <pc:sldMk cId="3546637518" sldId="2147378510"/>
            <ac:graphicFrameMk id="6" creationId="{903336ED-9778-D2E5-A3B1-EA932B617DB3}"/>
          </ac:graphicFrameMkLst>
        </pc:graphicFrameChg>
        <pc:graphicFrameChg chg="mod">
          <ac:chgData name="Neriman EL HADIDI" userId="4b24840c-84b3-44ac-9131-ca3568cb403b" providerId="ADAL" clId="{DEC2644B-FBB3-4E70-8177-D39ED5E85D5B}" dt="2024-11-01T09:03:47.948" v="8"/>
          <ac:graphicFrameMkLst>
            <pc:docMk/>
            <pc:sldMk cId="3546637518" sldId="2147378510"/>
            <ac:graphicFrameMk id="20" creationId="{4F1AC2C4-E03E-4D63-9CFE-5DD45DD67548}"/>
          </ac:graphicFrameMkLst>
        </pc:graphicFrameChg>
      </pc:sldChg>
      <pc:sldChg chg="modSp">
        <pc:chgData name="Neriman EL HADIDI" userId="4b24840c-84b3-44ac-9131-ca3568cb403b" providerId="ADAL" clId="{DEC2644B-FBB3-4E70-8177-D39ED5E85D5B}" dt="2024-11-01T09:04:58.900" v="11"/>
        <pc:sldMkLst>
          <pc:docMk/>
          <pc:sldMk cId="2800720980" sldId="2147471718"/>
        </pc:sldMkLst>
        <pc:graphicFrameChg chg="mod">
          <ac:chgData name="Neriman EL HADIDI" userId="4b24840c-84b3-44ac-9131-ca3568cb403b" providerId="ADAL" clId="{DEC2644B-FBB3-4E70-8177-D39ED5E85D5B}" dt="2024-11-01T09:04:58.900" v="11"/>
          <ac:graphicFrameMkLst>
            <pc:docMk/>
            <pc:sldMk cId="2800720980" sldId="2147471718"/>
            <ac:graphicFrameMk id="22" creationId="{BDCCA8F9-9B4E-4C69-981A-F30479D8A570}"/>
          </ac:graphicFrameMkLst>
        </pc:graphicFrameChg>
      </pc:sldChg>
      <pc:sldChg chg="modSp mod">
        <pc:chgData name="Neriman EL HADIDI" userId="4b24840c-84b3-44ac-9131-ca3568cb403b" providerId="ADAL" clId="{DEC2644B-FBB3-4E70-8177-D39ED5E85D5B}" dt="2024-11-01T09:06:06.280" v="15" actId="27918"/>
        <pc:sldMkLst>
          <pc:docMk/>
          <pc:sldMk cId="354591731" sldId="2147473384"/>
        </pc:sldMkLst>
        <pc:graphicFrameChg chg="mod">
          <ac:chgData name="Neriman EL HADIDI" userId="4b24840c-84b3-44ac-9131-ca3568cb403b" providerId="ADAL" clId="{DEC2644B-FBB3-4E70-8177-D39ED5E85D5B}" dt="2024-11-01T09:06:02.513" v="14"/>
          <ac:graphicFrameMkLst>
            <pc:docMk/>
            <pc:sldMk cId="354591731" sldId="2147473384"/>
            <ac:graphicFrameMk id="16" creationId="{1500463F-9113-F853-0F0E-F384F111BD54}"/>
          </ac:graphicFrameMkLst>
        </pc:graphicFrameChg>
      </pc:sldChg>
      <pc:sldChg chg="delSp mod">
        <pc:chgData name="Neriman EL HADIDI" userId="4b24840c-84b3-44ac-9131-ca3568cb403b" providerId="ADAL" clId="{DEC2644B-FBB3-4E70-8177-D39ED5E85D5B}" dt="2024-11-01T09:02:21.352" v="5" actId="478"/>
        <pc:sldMkLst>
          <pc:docMk/>
          <pc:sldMk cId="3548136992" sldId="2147475151"/>
        </pc:sldMkLst>
        <pc:spChg chg="del">
          <ac:chgData name="Neriman EL HADIDI" userId="4b24840c-84b3-44ac-9131-ca3568cb403b" providerId="ADAL" clId="{DEC2644B-FBB3-4E70-8177-D39ED5E85D5B}" dt="2024-11-01T09:02:21.352" v="5" actId="478"/>
          <ac:spMkLst>
            <pc:docMk/>
            <pc:sldMk cId="3548136992" sldId="2147475151"/>
            <ac:spMk id="13" creationId="{07164268-310E-52F7-2DCD-44921744491C}"/>
          </ac:spMkLst>
        </pc:spChg>
      </pc:sldChg>
      <pc:sldMasterChg chg="del">
        <pc:chgData name="Neriman EL HADIDI" userId="4b24840c-84b3-44ac-9131-ca3568cb403b" providerId="ADAL" clId="{DEC2644B-FBB3-4E70-8177-D39ED5E85D5B}" dt="2024-11-01T09:00:26.894" v="0" actId="2696"/>
        <pc:sldMasterMkLst>
          <pc:docMk/>
          <pc:sldMasterMk cId="823099819" sldId="2147483792"/>
        </pc:sldMasterMkLst>
      </pc:sldMasterChg>
      <pc:sldMasterChg chg="del">
        <pc:chgData name="Neriman EL HADIDI" userId="4b24840c-84b3-44ac-9131-ca3568cb403b" providerId="ADAL" clId="{DEC2644B-FBB3-4E70-8177-D39ED5E85D5B}" dt="2024-11-01T09:00:36.050" v="1" actId="2696"/>
        <pc:sldMasterMkLst>
          <pc:docMk/>
          <pc:sldMasterMk cId="2323846169" sldId="2147483844"/>
        </pc:sldMasterMkLst>
      </pc:sldMaster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4.xml"/><Relationship Id="rId1" Type="http://schemas.microsoft.com/office/2011/relationships/chartStyle" Target="style4.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5.xml"/><Relationship Id="rId1" Type="http://schemas.microsoft.com/office/2011/relationships/chartStyle" Target="style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6.xml"/><Relationship Id="rId1" Type="http://schemas.microsoft.com/office/2011/relationships/chartStyle" Target="style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7.xml"/><Relationship Id="rId1" Type="http://schemas.microsoft.com/office/2011/relationships/chartStyle" Target="style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8.xml"/><Relationship Id="rId1" Type="http://schemas.microsoft.com/office/2011/relationships/chartStyle" Target="style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9.xml"/><Relationship Id="rId1" Type="http://schemas.microsoft.com/office/2011/relationships/chartStyle" Target="style9.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10.xml"/><Relationship Id="rId1" Type="http://schemas.microsoft.com/office/2011/relationships/chartStyle" Target="style1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11.xml"/><Relationship Id="rId1" Type="http://schemas.microsoft.com/office/2011/relationships/chartStyle" Target="style1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12.xml"/><Relationship Id="rId1" Type="http://schemas.microsoft.com/office/2011/relationships/chartStyle" Target="style1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13.xml"/><Relationship Id="rId1" Type="http://schemas.microsoft.com/office/2011/relationships/chartStyle" Target="style1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14.xml"/><Relationship Id="rId1" Type="http://schemas.microsoft.com/office/2011/relationships/chartStyle" Target="style1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15.xml"/><Relationship Id="rId1" Type="http://schemas.microsoft.com/office/2011/relationships/chartStyle" Target="style15.xml"/></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1.xml"/><Relationship Id="rId1" Type="http://schemas.microsoft.com/office/2011/relationships/chartStyle" Target="style1.xml"/></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2.xml"/><Relationship Id="rId1" Type="http://schemas.microsoft.com/office/2011/relationships/chartStyle" Target="style2.xml"/></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16.xml"/><Relationship Id="rId1" Type="http://schemas.microsoft.com/office/2011/relationships/chartStyle" Target="style16.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17.xml"/><Relationship Id="rId1" Type="http://schemas.microsoft.com/office/2011/relationships/chartStyle" Target="style17.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18.xml"/><Relationship Id="rId1" Type="http://schemas.microsoft.com/office/2011/relationships/chartStyle" Target="style18.xml"/></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19.xml"/><Relationship Id="rId1" Type="http://schemas.microsoft.com/office/2011/relationships/chartStyle" Target="style19.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20.xml"/><Relationship Id="rId1" Type="http://schemas.microsoft.com/office/2011/relationships/chartStyle" Target="style20.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21.xml"/><Relationship Id="rId1" Type="http://schemas.microsoft.com/office/2011/relationships/chartStyle" Target="style21.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22.xml"/><Relationship Id="rId1" Type="http://schemas.microsoft.com/office/2011/relationships/chartStyle" Target="style22.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microsoft.com/office/2011/relationships/chartColorStyle" Target="colors23.xml"/><Relationship Id="rId1" Type="http://schemas.microsoft.com/office/2011/relationships/chartStyle" Target="style23.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24.xml"/><Relationship Id="rId1" Type="http://schemas.microsoft.com/office/2011/relationships/chartStyle" Target="style24.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25.xml"/><Relationship Id="rId1" Type="http://schemas.microsoft.com/office/2011/relationships/chartStyle" Target="style25.xml"/></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7114532400654232E-2"/>
          <c:y val="0"/>
          <c:w val="0.95678150094200787"/>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3-3C16-4125-B97A-D0EBA9D0B1CF}"/>
              </c:ext>
            </c:extLst>
          </c:dPt>
          <c:dPt>
            <c:idx val="1"/>
            <c:invertIfNegative val="0"/>
            <c:bubble3D val="0"/>
            <c:spPr>
              <a:solidFill>
                <a:srgbClr val="E1BFBF"/>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86864502653929254</c:v>
                </c:pt>
                <c:pt idx="1">
                  <c:v>-0.79851068095048539</c:v>
                </c:pt>
                <c:pt idx="2">
                  <c:v>-0.78408217187383367</c:v>
                </c:pt>
                <c:pt idx="3">
                  <c:v>-1</c:v>
                </c:pt>
                <c:pt idx="4">
                  <c:v>-0.79453677644927057</c:v>
                </c:pt>
                <c:pt idx="5">
                  <c:v>-1</c:v>
                </c:pt>
                <c:pt idx="6">
                  <c:v>-1</c:v>
                </c:pt>
                <c:pt idx="7">
                  <c:v>-0.93770761225632493</c:v>
                </c:pt>
                <c:pt idx="8">
                  <c:v>-1</c:v>
                </c:pt>
                <c:pt idx="9">
                  <c:v>-1</c:v>
                </c:pt>
                <c:pt idx="10">
                  <c:v>-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TPR</c:v>
                </c:pt>
              </c:strCache>
            </c:strRef>
          </c:tx>
          <c:spPr>
            <a:solidFill>
              <a:schemeClr val="accent2">
                <a:shade val="76000"/>
              </a:schemeClr>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rbi Dario Spa</c:v>
                </c:pt>
                <c:pt idx="1">
                  <c:v>Esca Srl</c:v>
                </c:pt>
                <c:pt idx="2">
                  <c:v>Findus</c:v>
                </c:pt>
                <c:pt idx="3">
                  <c:v>Frosta</c:v>
                </c:pt>
                <c:pt idx="4">
                  <c:v>Krusta Group</c:v>
                </c:pt>
                <c:pt idx="5">
                  <c:v>New Food</c:v>
                </c:pt>
                <c:pt idx="6">
                  <c:v>Panapesca</c:v>
                </c:pt>
                <c:pt idx="7">
                  <c:v>Pescanova S.A.</c:v>
                </c:pt>
                <c:pt idx="8">
                  <c:v>Private Label</c:v>
                </c:pt>
              </c:strCache>
            </c:strRef>
          </c:cat>
          <c:val>
            <c:numRef>
              <c:f>Sheet1!$B$2:$B$10</c:f>
              <c:numCache>
                <c:formatCode>General</c:formatCode>
                <c:ptCount val="9"/>
                <c:pt idx="0">
                  <c:v>0.97553731504482122</c:v>
                </c:pt>
                <c:pt idx="1">
                  <c:v>1</c:v>
                </c:pt>
                <c:pt idx="2">
                  <c:v>0.96560128666794454</c:v>
                </c:pt>
                <c:pt idx="3">
                  <c:v>1</c:v>
                </c:pt>
                <c:pt idx="4">
                  <c:v>4.2670982812054552E-2</c:v>
                </c:pt>
                <c:pt idx="5">
                  <c:v>1</c:v>
                </c:pt>
                <c:pt idx="6">
                  <c:v>0.71063588973412994</c:v>
                </c:pt>
                <c:pt idx="7">
                  <c:v>4.152747056740308E-2</c:v>
                </c:pt>
                <c:pt idx="8">
                  <c:v>0.88317257601959165</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c:v>
                </c:pt>
              </c:strCache>
            </c:strRef>
          </c:tx>
          <c:spPr>
            <a:solidFill>
              <a:schemeClr val="accent2">
                <a:tint val="77000"/>
              </a:schemeClr>
            </a:solidFill>
            <a:ln>
              <a:no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rbi Dario Spa</c:v>
                </c:pt>
                <c:pt idx="1">
                  <c:v>Esca Srl</c:v>
                </c:pt>
                <c:pt idx="2">
                  <c:v>Findus</c:v>
                </c:pt>
                <c:pt idx="3">
                  <c:v>Frosta</c:v>
                </c:pt>
                <c:pt idx="4">
                  <c:v>Krusta Group</c:v>
                </c:pt>
                <c:pt idx="5">
                  <c:v>New Food</c:v>
                </c:pt>
                <c:pt idx="6">
                  <c:v>Panapesca</c:v>
                </c:pt>
                <c:pt idx="7">
                  <c:v>Pescanova S.A.</c:v>
                </c:pt>
                <c:pt idx="8">
                  <c:v>Private Label</c:v>
                </c:pt>
              </c:strCache>
            </c:strRef>
          </c:cat>
          <c:val>
            <c:numRef>
              <c:f>Sheet1!$C$2:$C$10</c:f>
              <c:numCache>
                <c:formatCode>General</c:formatCode>
                <c:ptCount val="9"/>
                <c:pt idx="0">
                  <c:v>2.446268495517874E-2</c:v>
                </c:pt>
                <c:pt idx="2">
                  <c:v>3.4398713332055492E-2</c:v>
                </c:pt>
                <c:pt idx="4">
                  <c:v>0.9573290171879455</c:v>
                </c:pt>
                <c:pt idx="6">
                  <c:v>0.28936411026586994</c:v>
                </c:pt>
                <c:pt idx="7">
                  <c:v>0.95847252943259698</c:v>
                </c:pt>
                <c:pt idx="8">
                  <c:v>0.11682742398040841</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89372756328472E-2"/>
          <c:y val="3.7948661595622463E-2"/>
          <c:w val="0.93691511195956778"/>
          <c:h val="0.78210123658438346"/>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Private Label</c:v>
                </c:pt>
                <c:pt idx="1">
                  <c:v>Gerolsteiner</c:v>
                </c:pt>
                <c:pt idx="2">
                  <c:v>Volvic</c:v>
                </c:pt>
                <c:pt idx="3">
                  <c:v>Adelholzener</c:v>
                </c:pt>
                <c:pt idx="4">
                  <c:v>Vittel</c:v>
                </c:pt>
                <c:pt idx="5">
                  <c:v>Rosbacher</c:v>
                </c:pt>
                <c:pt idx="6">
                  <c:v>Frankenbrunnen</c:v>
                </c:pt>
                <c:pt idx="7">
                  <c:v>Vilsa</c:v>
                </c:pt>
                <c:pt idx="8">
                  <c:v>Staatl Fachingen</c:v>
                </c:pt>
                <c:pt idx="9">
                  <c:v>Elisabethen</c:v>
                </c:pt>
                <c:pt idx="10">
                  <c:v>Rhoen Sprudel</c:v>
                </c:pt>
                <c:pt idx="11">
                  <c:v>Vio</c:v>
                </c:pt>
              </c:strCache>
            </c:strRef>
          </c:cat>
          <c:val>
            <c:numRef>
              <c:f>Sheet1!$B$2:$B$13</c:f>
              <c:numCache>
                <c:formatCode>General</c:formatCode>
                <c:ptCount val="12"/>
                <c:pt idx="0">
                  <c:v>0.14887630398893711</c:v>
                </c:pt>
                <c:pt idx="1">
                  <c:v>0.14753507602507279</c:v>
                </c:pt>
                <c:pt idx="2">
                  <c:v>7.5169440447029987E-2</c:v>
                </c:pt>
                <c:pt idx="3">
                  <c:v>4.1742361940454768E-2</c:v>
                </c:pt>
                <c:pt idx="4">
                  <c:v>3.0456510717473014E-2</c:v>
                </c:pt>
                <c:pt idx="5">
                  <c:v>1.8965164593235755E-2</c:v>
                </c:pt>
                <c:pt idx="6">
                  <c:v>1.6475895117738282E-2</c:v>
                </c:pt>
                <c:pt idx="7">
                  <c:v>1.4455972273459553E-2</c:v>
                </c:pt>
                <c:pt idx="8">
                  <c:v>1.4356859550613872E-2</c:v>
                </c:pt>
                <c:pt idx="9">
                  <c:v>1.4154421307888014E-2</c:v>
                </c:pt>
                <c:pt idx="10">
                  <c:v>1.3893394204016671E-2</c:v>
                </c:pt>
                <c:pt idx="11">
                  <c:v>1.1433502985839681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Feature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Private Label</c:v>
                </c:pt>
                <c:pt idx="1">
                  <c:v>Gerolsteiner</c:v>
                </c:pt>
                <c:pt idx="2">
                  <c:v>Volvic</c:v>
                </c:pt>
                <c:pt idx="3">
                  <c:v>Adelholzener</c:v>
                </c:pt>
                <c:pt idx="4">
                  <c:v>Vittel</c:v>
                </c:pt>
                <c:pt idx="5">
                  <c:v>Rosbacher</c:v>
                </c:pt>
                <c:pt idx="6">
                  <c:v>Frankenbrunnen</c:v>
                </c:pt>
                <c:pt idx="7">
                  <c:v>Vilsa</c:v>
                </c:pt>
                <c:pt idx="8">
                  <c:v>Staatl Fachingen</c:v>
                </c:pt>
                <c:pt idx="9">
                  <c:v>Elisabethen</c:v>
                </c:pt>
                <c:pt idx="10">
                  <c:v>Rhoen Sprudel</c:v>
                </c:pt>
                <c:pt idx="11">
                  <c:v>Vio</c:v>
                </c:pt>
              </c:strCache>
            </c:strRef>
          </c:cat>
          <c:val>
            <c:numRef>
              <c:f>Sheet1!$C$2:$C$13</c:f>
              <c:numCache>
                <c:formatCode>General</c:formatCode>
                <c:ptCount val="12"/>
                <c:pt idx="0">
                  <c:v>9.1800439710634212E-3</c:v>
                </c:pt>
                <c:pt idx="1">
                  <c:v>0.2370275409572378</c:v>
                </c:pt>
                <c:pt idx="2">
                  <c:v>0.13304385637228747</c:v>
                </c:pt>
                <c:pt idx="3">
                  <c:v>5.7237173123776117E-2</c:v>
                </c:pt>
                <c:pt idx="4">
                  <c:v>0.10331603365087226</c:v>
                </c:pt>
                <c:pt idx="5">
                  <c:v>4.3563005891645391E-2</c:v>
                </c:pt>
                <c:pt idx="6">
                  <c:v>2.8912250554856692E-2</c:v>
                </c:pt>
                <c:pt idx="7">
                  <c:v>1.2316292813085248E-2</c:v>
                </c:pt>
                <c:pt idx="8">
                  <c:v>1.313011026521714E-2</c:v>
                </c:pt>
                <c:pt idx="9">
                  <c:v>2.5815096034049897E-2</c:v>
                </c:pt>
                <c:pt idx="10">
                  <c:v>1.9127019902252872E-2</c:v>
                </c:pt>
                <c:pt idx="11">
                  <c:v>1.7855771079084613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0" vert="horz"/>
          <a:lstStyle/>
          <a:p>
            <a:pPr>
              <a:defRPr/>
            </a:pPr>
            <a:endParaRPr lang="en-US"/>
          </a:p>
        </c:txPr>
        <c:crossAx val="1433501040"/>
        <c:crosses val="autoZero"/>
        <c:auto val="1"/>
        <c:lblAlgn val="ctr"/>
        <c:lblOffset val="100"/>
        <c:noMultiLvlLbl val="0"/>
      </c:catAx>
      <c:valAx>
        <c:axId val="1433501040"/>
        <c:scaling>
          <c:orientation val="minMax"/>
        </c:scaling>
        <c:delete val="1"/>
        <c:axPos val="l"/>
        <c:numFmt formatCode="0%" sourceLinked="0"/>
        <c:majorTickMark val="out"/>
        <c:minorTickMark val="none"/>
        <c:tickLblPos val="nextTo"/>
        <c:crossAx val="1837882976"/>
        <c:crosses val="autoZero"/>
        <c:crossBetween val="between"/>
      </c:valAx>
      <c:spPr>
        <a:noFill/>
        <a:ln>
          <a:noFill/>
        </a:ln>
        <a:effectLst/>
      </c:spPr>
    </c:plotArea>
    <c:legend>
      <c:legendPos val="b"/>
      <c:layout>
        <c:manualLayout>
          <c:xMode val="edge"/>
          <c:yMode val="edge"/>
          <c:x val="0.31018634592872957"/>
          <c:y val="0.9195782501361186"/>
          <c:w val="0.34355071262700604"/>
          <c:h val="8.0421749863881425E-2"/>
        </c:manualLayout>
      </c:layout>
      <c:overlay val="0"/>
      <c:spPr>
        <a:noFill/>
        <a:ln>
          <a:noFill/>
        </a:ln>
        <a:effectLst/>
      </c:spPr>
      <c:txPr>
        <a:bodyPr rot="0" vert="horz"/>
        <a:lstStyle/>
        <a:p>
          <a:pPr>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tx1"/>
          </a:solidFill>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893728980341809E-2"/>
          <c:y val="4.1660304546965121E-2"/>
          <c:w val="0.93691511195956778"/>
          <c:h val="0.7820524939432844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Private Label</c:v>
                </c:pt>
                <c:pt idx="1">
                  <c:v>Gerolsteiner</c:v>
                </c:pt>
                <c:pt idx="2">
                  <c:v>Volvic</c:v>
                </c:pt>
                <c:pt idx="3">
                  <c:v>Adelholzener</c:v>
                </c:pt>
                <c:pt idx="4">
                  <c:v>Vittel</c:v>
                </c:pt>
                <c:pt idx="5">
                  <c:v>Rosbacher</c:v>
                </c:pt>
                <c:pt idx="6">
                  <c:v>Frankenbrunnen</c:v>
                </c:pt>
                <c:pt idx="7">
                  <c:v>Vilsa</c:v>
                </c:pt>
                <c:pt idx="8">
                  <c:v>Staatl Fachingen</c:v>
                </c:pt>
                <c:pt idx="9">
                  <c:v>Elisabethen</c:v>
                </c:pt>
                <c:pt idx="10">
                  <c:v>Rhoen Sprudel</c:v>
                </c:pt>
                <c:pt idx="11">
                  <c:v>Vio</c:v>
                </c:pt>
              </c:strCache>
            </c:strRef>
          </c:cat>
          <c:val>
            <c:numRef>
              <c:f>Sheet1!$B$2:$B$13</c:f>
              <c:numCache>
                <c:formatCode>General</c:formatCode>
                <c:ptCount val="12"/>
                <c:pt idx="0">
                  <c:v>0.14887630398893711</c:v>
                </c:pt>
                <c:pt idx="1">
                  <c:v>0.14753507602507279</c:v>
                </c:pt>
                <c:pt idx="2">
                  <c:v>7.5169440447029987E-2</c:v>
                </c:pt>
                <c:pt idx="3">
                  <c:v>4.1742361940454768E-2</c:v>
                </c:pt>
                <c:pt idx="4">
                  <c:v>3.0456510717473014E-2</c:v>
                </c:pt>
                <c:pt idx="5">
                  <c:v>1.8965164593235755E-2</c:v>
                </c:pt>
                <c:pt idx="6">
                  <c:v>1.6475895117738282E-2</c:v>
                </c:pt>
                <c:pt idx="7">
                  <c:v>1.4455972273459553E-2</c:v>
                </c:pt>
                <c:pt idx="8">
                  <c:v>1.4356859550613872E-2</c:v>
                </c:pt>
                <c:pt idx="9">
                  <c:v>1.4154421307888014E-2</c:v>
                </c:pt>
                <c:pt idx="10">
                  <c:v>1.3893394204016671E-2</c:v>
                </c:pt>
                <c:pt idx="11">
                  <c:v>1.1433502985839681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Display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Private Label</c:v>
                </c:pt>
                <c:pt idx="1">
                  <c:v>Gerolsteiner</c:v>
                </c:pt>
                <c:pt idx="2">
                  <c:v>Volvic</c:v>
                </c:pt>
                <c:pt idx="3">
                  <c:v>Adelholzener</c:v>
                </c:pt>
                <c:pt idx="4">
                  <c:v>Vittel</c:v>
                </c:pt>
                <c:pt idx="5">
                  <c:v>Rosbacher</c:v>
                </c:pt>
                <c:pt idx="6">
                  <c:v>Frankenbrunnen</c:v>
                </c:pt>
                <c:pt idx="7">
                  <c:v>Vilsa</c:v>
                </c:pt>
                <c:pt idx="8">
                  <c:v>Staatl Fachingen</c:v>
                </c:pt>
                <c:pt idx="9">
                  <c:v>Elisabethen</c:v>
                </c:pt>
                <c:pt idx="10">
                  <c:v>Rhoen Sprudel</c:v>
                </c:pt>
                <c:pt idx="11">
                  <c:v>Vio</c:v>
                </c:pt>
              </c:strCache>
            </c:strRef>
          </c:cat>
          <c:val>
            <c:numRef>
              <c:f>Sheet1!$C$2:$C$13</c:f>
              <c:numCache>
                <c:formatCode>General</c:formatCode>
                <c:ptCount val="12"/>
                <c:pt idx="0">
                  <c:v>9.1800439710634212E-3</c:v>
                </c:pt>
                <c:pt idx="1">
                  <c:v>0.2370275409572378</c:v>
                </c:pt>
                <c:pt idx="2">
                  <c:v>0.13304385637228747</c:v>
                </c:pt>
                <c:pt idx="3">
                  <c:v>5.7237173123776117E-2</c:v>
                </c:pt>
                <c:pt idx="4">
                  <c:v>0.10331603365087226</c:v>
                </c:pt>
                <c:pt idx="5">
                  <c:v>4.3563005891645391E-2</c:v>
                </c:pt>
                <c:pt idx="6">
                  <c:v>2.8912250554856692E-2</c:v>
                </c:pt>
                <c:pt idx="7">
                  <c:v>1.2316292813085248E-2</c:v>
                </c:pt>
                <c:pt idx="8">
                  <c:v>1.313011026521714E-2</c:v>
                </c:pt>
                <c:pt idx="9">
                  <c:v>2.5815096034049897E-2</c:v>
                </c:pt>
                <c:pt idx="10">
                  <c:v>1.9127019902252872E-2</c:v>
                </c:pt>
                <c:pt idx="11">
                  <c:v>1.7855771079084613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0" vert="horz"/>
          <a:lstStyle/>
          <a:p>
            <a:pPr>
              <a:defRPr/>
            </a:pPr>
            <a:endParaRPr lang="en-US"/>
          </a:p>
        </c:txPr>
        <c:crossAx val="1433501040"/>
        <c:crosses val="autoZero"/>
        <c:auto val="1"/>
        <c:lblAlgn val="ctr"/>
        <c:lblOffset val="100"/>
        <c:noMultiLvlLbl val="0"/>
      </c:catAx>
      <c:valAx>
        <c:axId val="1433501040"/>
        <c:scaling>
          <c:orientation val="minMax"/>
        </c:scaling>
        <c:delete val="1"/>
        <c:axPos val="l"/>
        <c:numFmt formatCode="0%" sourceLinked="0"/>
        <c:majorTickMark val="out"/>
        <c:minorTickMark val="none"/>
        <c:tickLblPos val="nextTo"/>
        <c:crossAx val="1837882976"/>
        <c:crosses val="autoZero"/>
        <c:crossBetween val="between"/>
      </c:valAx>
      <c:spPr>
        <a:noFill/>
        <a:ln>
          <a:noFill/>
        </a:ln>
        <a:effectLst/>
      </c:spPr>
    </c:plotArea>
    <c:legend>
      <c:legendPos val="b"/>
      <c:layout>
        <c:manualLayout>
          <c:xMode val="edge"/>
          <c:yMode val="edge"/>
          <c:x val="0.36596513476788334"/>
          <c:y val="0.92935175768467493"/>
          <c:w val="0.26493263520201288"/>
          <c:h val="6.3586476328904809E-2"/>
        </c:manualLayout>
      </c:layout>
      <c:overlay val="0"/>
      <c:spPr>
        <a:noFill/>
        <a:ln>
          <a:noFill/>
        </a:ln>
        <a:effectLst/>
      </c:spPr>
      <c:txPr>
        <a:bodyPr rot="0" vert="horz"/>
        <a:lstStyle/>
        <a:p>
          <a:pPr>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tx1"/>
          </a:solidFill>
        </a:defRPr>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C$1</c:f>
              <c:strCache>
                <c:ptCount val="1"/>
                <c:pt idx="0">
                  <c:v>Promo Value</c:v>
                </c:pt>
              </c:strCache>
            </c:strRef>
          </c:tx>
          <c:spPr>
            <a:solidFill>
              <a:schemeClr val="accent3"/>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C$2:$C$173</c:f>
              <c:numCache>
                <c:formatCode>General</c:formatCode>
                <c:ptCount val="172"/>
                <c:pt idx="0">
                  <c:v>12444636</c:v>
                </c:pt>
                <c:pt idx="1">
                  <c:v>7185356</c:v>
                </c:pt>
                <c:pt idx="2">
                  <c:v>7709545</c:v>
                </c:pt>
                <c:pt idx="3">
                  <c:v>8074167</c:v>
                </c:pt>
                <c:pt idx="4">
                  <c:v>8402977</c:v>
                </c:pt>
                <c:pt idx="5">
                  <c:v>9534246</c:v>
                </c:pt>
                <c:pt idx="6">
                  <c:v>10939345</c:v>
                </c:pt>
                <c:pt idx="7">
                  <c:v>7841487</c:v>
                </c:pt>
                <c:pt idx="8">
                  <c:v>9177824</c:v>
                </c:pt>
                <c:pt idx="9">
                  <c:v>8595303</c:v>
                </c:pt>
                <c:pt idx="10">
                  <c:v>9013040</c:v>
                </c:pt>
                <c:pt idx="11">
                  <c:v>8177412</c:v>
                </c:pt>
                <c:pt idx="12">
                  <c:v>11189736</c:v>
                </c:pt>
                <c:pt idx="13">
                  <c:v>10181200</c:v>
                </c:pt>
                <c:pt idx="14">
                  <c:v>10380883</c:v>
                </c:pt>
                <c:pt idx="15">
                  <c:v>9350244</c:v>
                </c:pt>
                <c:pt idx="16">
                  <c:v>9551471</c:v>
                </c:pt>
                <c:pt idx="17">
                  <c:v>10593868</c:v>
                </c:pt>
                <c:pt idx="18">
                  <c:v>11316539</c:v>
                </c:pt>
                <c:pt idx="19">
                  <c:v>10239681</c:v>
                </c:pt>
                <c:pt idx="20">
                  <c:v>10121497</c:v>
                </c:pt>
                <c:pt idx="21">
                  <c:v>10078557</c:v>
                </c:pt>
                <c:pt idx="22">
                  <c:v>12325493</c:v>
                </c:pt>
                <c:pt idx="23">
                  <c:v>10104232</c:v>
                </c:pt>
                <c:pt idx="24">
                  <c:v>13058018</c:v>
                </c:pt>
                <c:pt idx="25">
                  <c:v>9321749</c:v>
                </c:pt>
                <c:pt idx="26">
                  <c:v>12552076</c:v>
                </c:pt>
                <c:pt idx="27">
                  <c:v>15275437</c:v>
                </c:pt>
                <c:pt idx="28">
                  <c:v>14524771</c:v>
                </c:pt>
                <c:pt idx="29">
                  <c:v>11563135</c:v>
                </c:pt>
                <c:pt idx="30">
                  <c:v>10966761</c:v>
                </c:pt>
                <c:pt idx="31">
                  <c:v>13256872</c:v>
                </c:pt>
                <c:pt idx="32">
                  <c:v>11310208</c:v>
                </c:pt>
                <c:pt idx="33">
                  <c:v>11520181</c:v>
                </c:pt>
                <c:pt idx="34">
                  <c:v>12376311</c:v>
                </c:pt>
                <c:pt idx="35">
                  <c:v>10668263</c:v>
                </c:pt>
                <c:pt idx="36">
                  <c:v>12924107</c:v>
                </c:pt>
                <c:pt idx="37">
                  <c:v>12029990</c:v>
                </c:pt>
                <c:pt idx="38">
                  <c:v>11143692</c:v>
                </c:pt>
                <c:pt idx="39">
                  <c:v>10228088</c:v>
                </c:pt>
                <c:pt idx="40">
                  <c:v>8869539</c:v>
                </c:pt>
                <c:pt idx="41">
                  <c:v>9145259</c:v>
                </c:pt>
                <c:pt idx="42">
                  <c:v>10975011</c:v>
                </c:pt>
                <c:pt idx="43">
                  <c:v>10268307</c:v>
                </c:pt>
                <c:pt idx="44">
                  <c:v>9114877</c:v>
                </c:pt>
                <c:pt idx="45">
                  <c:v>10169247</c:v>
                </c:pt>
                <c:pt idx="46">
                  <c:v>9527500</c:v>
                </c:pt>
                <c:pt idx="47">
                  <c:v>9390388</c:v>
                </c:pt>
                <c:pt idx="48">
                  <c:v>9190756</c:v>
                </c:pt>
                <c:pt idx="49">
                  <c:v>8279680</c:v>
                </c:pt>
                <c:pt idx="50">
                  <c:v>9011004</c:v>
                </c:pt>
                <c:pt idx="51">
                  <c:v>10050858</c:v>
                </c:pt>
                <c:pt idx="52">
                  <c:v>11360515</c:v>
                </c:pt>
                <c:pt idx="53">
                  <c:v>6532708</c:v>
                </c:pt>
                <c:pt idx="54">
                  <c:v>8501923</c:v>
                </c:pt>
                <c:pt idx="55">
                  <c:v>10749052</c:v>
                </c:pt>
                <c:pt idx="56">
                  <c:v>9645476</c:v>
                </c:pt>
                <c:pt idx="57">
                  <c:v>10956175</c:v>
                </c:pt>
                <c:pt idx="58">
                  <c:v>10727158</c:v>
                </c:pt>
                <c:pt idx="59">
                  <c:v>9422685</c:v>
                </c:pt>
                <c:pt idx="60">
                  <c:v>8067986</c:v>
                </c:pt>
                <c:pt idx="61">
                  <c:v>8616356</c:v>
                </c:pt>
                <c:pt idx="62">
                  <c:v>12620128</c:v>
                </c:pt>
                <c:pt idx="63">
                  <c:v>11135801</c:v>
                </c:pt>
                <c:pt idx="64">
                  <c:v>13676428</c:v>
                </c:pt>
                <c:pt idx="65">
                  <c:v>11422438</c:v>
                </c:pt>
                <c:pt idx="66">
                  <c:v>7322718</c:v>
                </c:pt>
                <c:pt idx="67">
                  <c:v>7413749</c:v>
                </c:pt>
                <c:pt idx="68">
                  <c:v>9180780</c:v>
                </c:pt>
                <c:pt idx="69">
                  <c:v>7141369</c:v>
                </c:pt>
                <c:pt idx="70">
                  <c:v>8868015</c:v>
                </c:pt>
                <c:pt idx="71">
                  <c:v>9057154</c:v>
                </c:pt>
                <c:pt idx="72">
                  <c:v>9355840</c:v>
                </c:pt>
                <c:pt idx="73">
                  <c:v>10602350</c:v>
                </c:pt>
                <c:pt idx="74">
                  <c:v>11248575</c:v>
                </c:pt>
                <c:pt idx="75">
                  <c:v>11913246</c:v>
                </c:pt>
                <c:pt idx="76">
                  <c:v>9281009</c:v>
                </c:pt>
                <c:pt idx="77">
                  <c:v>9905898</c:v>
                </c:pt>
                <c:pt idx="78">
                  <c:v>12067605</c:v>
                </c:pt>
                <c:pt idx="79">
                  <c:v>13670568</c:v>
                </c:pt>
                <c:pt idx="80">
                  <c:v>19852081</c:v>
                </c:pt>
                <c:pt idx="81">
                  <c:v>23786538</c:v>
                </c:pt>
                <c:pt idx="82">
                  <c:v>16801252</c:v>
                </c:pt>
                <c:pt idx="83">
                  <c:v>17849807</c:v>
                </c:pt>
                <c:pt idx="84">
                  <c:v>13855823</c:v>
                </c:pt>
                <c:pt idx="85">
                  <c:v>12779993</c:v>
                </c:pt>
                <c:pt idx="86">
                  <c:v>13367987</c:v>
                </c:pt>
                <c:pt idx="87">
                  <c:v>12896774</c:v>
                </c:pt>
                <c:pt idx="88">
                  <c:v>11849433</c:v>
                </c:pt>
                <c:pt idx="89">
                  <c:v>9755011</c:v>
                </c:pt>
                <c:pt idx="90">
                  <c:v>9866124</c:v>
                </c:pt>
                <c:pt idx="91">
                  <c:v>12492627</c:v>
                </c:pt>
                <c:pt idx="92">
                  <c:v>9519967</c:v>
                </c:pt>
                <c:pt idx="93">
                  <c:v>9371854</c:v>
                </c:pt>
                <c:pt idx="94">
                  <c:v>10405085</c:v>
                </c:pt>
                <c:pt idx="95">
                  <c:v>9855449</c:v>
                </c:pt>
                <c:pt idx="96">
                  <c:v>9006107</c:v>
                </c:pt>
                <c:pt idx="97">
                  <c:v>9440195</c:v>
                </c:pt>
                <c:pt idx="98">
                  <c:v>9190806</c:v>
                </c:pt>
                <c:pt idx="99">
                  <c:v>10067090</c:v>
                </c:pt>
                <c:pt idx="100">
                  <c:v>9935717</c:v>
                </c:pt>
                <c:pt idx="101">
                  <c:v>8478315</c:v>
                </c:pt>
                <c:pt idx="102">
                  <c:v>7953756</c:v>
                </c:pt>
                <c:pt idx="103">
                  <c:v>8800420</c:v>
                </c:pt>
                <c:pt idx="104">
                  <c:v>13188297</c:v>
                </c:pt>
                <c:pt idx="105">
                  <c:v>7651913</c:v>
                </c:pt>
                <c:pt idx="106">
                  <c:v>6083941</c:v>
                </c:pt>
                <c:pt idx="107">
                  <c:v>10582089</c:v>
                </c:pt>
                <c:pt idx="108">
                  <c:v>10463894</c:v>
                </c:pt>
                <c:pt idx="109">
                  <c:v>10333112</c:v>
                </c:pt>
                <c:pt idx="110">
                  <c:v>10671054</c:v>
                </c:pt>
                <c:pt idx="111">
                  <c:v>10021378</c:v>
                </c:pt>
                <c:pt idx="112">
                  <c:v>8018383</c:v>
                </c:pt>
                <c:pt idx="113">
                  <c:v>10423698</c:v>
                </c:pt>
                <c:pt idx="114">
                  <c:v>11289899</c:v>
                </c:pt>
                <c:pt idx="115">
                  <c:v>13534840</c:v>
                </c:pt>
                <c:pt idx="116">
                  <c:v>9862650</c:v>
                </c:pt>
                <c:pt idx="117">
                  <c:v>7972932</c:v>
                </c:pt>
                <c:pt idx="118">
                  <c:v>12810319</c:v>
                </c:pt>
                <c:pt idx="119">
                  <c:v>13111156</c:v>
                </c:pt>
                <c:pt idx="120">
                  <c:v>9460161</c:v>
                </c:pt>
                <c:pt idx="121">
                  <c:v>9582261</c:v>
                </c:pt>
                <c:pt idx="122">
                  <c:v>10419668</c:v>
                </c:pt>
                <c:pt idx="123">
                  <c:v>11205085</c:v>
                </c:pt>
                <c:pt idx="124">
                  <c:v>10621918</c:v>
                </c:pt>
                <c:pt idx="125">
                  <c:v>9713330</c:v>
                </c:pt>
                <c:pt idx="126">
                  <c:v>14419664</c:v>
                </c:pt>
                <c:pt idx="127">
                  <c:v>8442217</c:v>
                </c:pt>
                <c:pt idx="128">
                  <c:v>13182299</c:v>
                </c:pt>
                <c:pt idx="129">
                  <c:v>12441305</c:v>
                </c:pt>
                <c:pt idx="130">
                  <c:v>19113263</c:v>
                </c:pt>
                <c:pt idx="131">
                  <c:v>14872205</c:v>
                </c:pt>
                <c:pt idx="132">
                  <c:v>14671631</c:v>
                </c:pt>
                <c:pt idx="133">
                  <c:v>11180243</c:v>
                </c:pt>
                <c:pt idx="134">
                  <c:v>11762561</c:v>
                </c:pt>
                <c:pt idx="135">
                  <c:v>11490296</c:v>
                </c:pt>
                <c:pt idx="136">
                  <c:v>13075904</c:v>
                </c:pt>
                <c:pt idx="137">
                  <c:v>10733422</c:v>
                </c:pt>
                <c:pt idx="138">
                  <c:v>9733322</c:v>
                </c:pt>
                <c:pt idx="139">
                  <c:v>9470733</c:v>
                </c:pt>
                <c:pt idx="140">
                  <c:v>10248502</c:v>
                </c:pt>
                <c:pt idx="141">
                  <c:v>10541151</c:v>
                </c:pt>
                <c:pt idx="142">
                  <c:v>10802563</c:v>
                </c:pt>
                <c:pt idx="143">
                  <c:v>10152049</c:v>
                </c:pt>
                <c:pt idx="144">
                  <c:v>11365529</c:v>
                </c:pt>
                <c:pt idx="145">
                  <c:v>12467571</c:v>
                </c:pt>
                <c:pt idx="146">
                  <c:v>10675011</c:v>
                </c:pt>
                <c:pt idx="147">
                  <c:v>9723992</c:v>
                </c:pt>
                <c:pt idx="148">
                  <c:v>7996944</c:v>
                </c:pt>
                <c:pt idx="149">
                  <c:v>8946583</c:v>
                </c:pt>
                <c:pt idx="150">
                  <c:v>8896854</c:v>
                </c:pt>
                <c:pt idx="151">
                  <c:v>8341636</c:v>
                </c:pt>
                <c:pt idx="152">
                  <c:v>9052109</c:v>
                </c:pt>
                <c:pt idx="153">
                  <c:v>10157071</c:v>
                </c:pt>
                <c:pt idx="154">
                  <c:v>8000619</c:v>
                </c:pt>
                <c:pt idx="155">
                  <c:v>8019566</c:v>
                </c:pt>
                <c:pt idx="156">
                  <c:v>10590867</c:v>
                </c:pt>
                <c:pt idx="157">
                  <c:v>10443410</c:v>
                </c:pt>
                <c:pt idx="158">
                  <c:v>7853514</c:v>
                </c:pt>
                <c:pt idx="159">
                  <c:v>11977936</c:v>
                </c:pt>
                <c:pt idx="160">
                  <c:v>9545056</c:v>
                </c:pt>
                <c:pt idx="161">
                  <c:v>9751593</c:v>
                </c:pt>
                <c:pt idx="162">
                  <c:v>9820853</c:v>
                </c:pt>
                <c:pt idx="163">
                  <c:v>9718091</c:v>
                </c:pt>
                <c:pt idx="164">
                  <c:v>10069808</c:v>
                </c:pt>
                <c:pt idx="165">
                  <c:v>10123687</c:v>
                </c:pt>
                <c:pt idx="166">
                  <c:v>10447524</c:v>
                </c:pt>
                <c:pt idx="167">
                  <c:v>10700616</c:v>
                </c:pt>
                <c:pt idx="168">
                  <c:v>12379065</c:v>
                </c:pt>
                <c:pt idx="169">
                  <c:v>11753512</c:v>
                </c:pt>
                <c:pt idx="170">
                  <c:v>11794401</c:v>
                </c:pt>
                <c:pt idx="171">
                  <c:v>10838490</c:v>
                </c:pt>
              </c:numCache>
            </c:numRef>
          </c:val>
          <c:extLst>
            <c:ext xmlns:c16="http://schemas.microsoft.com/office/drawing/2014/chart" uri="{C3380CC4-5D6E-409C-BE32-E72D297353CC}">
              <c16:uniqueId val="{00000000-2607-4594-924D-A7A362348187}"/>
            </c:ext>
          </c:extLst>
        </c:ser>
        <c:ser>
          <c:idx val="1"/>
          <c:order val="1"/>
          <c:tx>
            <c:strRef>
              <c:f>Sheet1!$D$1</c:f>
              <c:strCache>
                <c:ptCount val="1"/>
                <c:pt idx="0">
                  <c:v>Non-Promo Value</c:v>
                </c:pt>
              </c:strCache>
            </c:strRef>
          </c:tx>
          <c:spPr>
            <a:solidFill>
              <a:schemeClr val="bg2">
                <a:lumMod val="90000"/>
              </a:schemeClr>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D$2:$D$173</c:f>
              <c:numCache>
                <c:formatCode>General</c:formatCode>
                <c:ptCount val="172"/>
                <c:pt idx="0">
                  <c:v>73139166</c:v>
                </c:pt>
                <c:pt idx="1">
                  <c:v>50845614</c:v>
                </c:pt>
                <c:pt idx="2">
                  <c:v>52344587</c:v>
                </c:pt>
                <c:pt idx="3">
                  <c:v>59977218</c:v>
                </c:pt>
                <c:pt idx="4">
                  <c:v>58680958</c:v>
                </c:pt>
                <c:pt idx="5">
                  <c:v>56596694</c:v>
                </c:pt>
                <c:pt idx="6">
                  <c:v>58575140</c:v>
                </c:pt>
                <c:pt idx="7">
                  <c:v>63357652</c:v>
                </c:pt>
                <c:pt idx="8">
                  <c:v>63861604</c:v>
                </c:pt>
                <c:pt idx="9">
                  <c:v>65310938</c:v>
                </c:pt>
                <c:pt idx="10">
                  <c:v>67060460</c:v>
                </c:pt>
                <c:pt idx="11">
                  <c:v>65761526</c:v>
                </c:pt>
                <c:pt idx="12">
                  <c:v>63506304</c:v>
                </c:pt>
                <c:pt idx="13">
                  <c:v>64775155</c:v>
                </c:pt>
                <c:pt idx="14">
                  <c:v>66364419</c:v>
                </c:pt>
                <c:pt idx="15">
                  <c:v>65975159</c:v>
                </c:pt>
                <c:pt idx="16">
                  <c:v>65795035</c:v>
                </c:pt>
                <c:pt idx="17">
                  <c:v>70105385</c:v>
                </c:pt>
                <c:pt idx="18">
                  <c:v>65025312</c:v>
                </c:pt>
                <c:pt idx="19">
                  <c:v>64511442</c:v>
                </c:pt>
                <c:pt idx="20">
                  <c:v>66054794</c:v>
                </c:pt>
                <c:pt idx="21">
                  <c:v>67055467</c:v>
                </c:pt>
                <c:pt idx="22">
                  <c:v>68966008</c:v>
                </c:pt>
                <c:pt idx="23">
                  <c:v>70427383</c:v>
                </c:pt>
                <c:pt idx="24">
                  <c:v>88295507</c:v>
                </c:pt>
                <c:pt idx="25">
                  <c:v>70497228</c:v>
                </c:pt>
                <c:pt idx="26">
                  <c:v>82450142</c:v>
                </c:pt>
                <c:pt idx="27">
                  <c:v>101492484</c:v>
                </c:pt>
                <c:pt idx="28">
                  <c:v>81508614</c:v>
                </c:pt>
                <c:pt idx="29">
                  <c:v>69404964</c:v>
                </c:pt>
                <c:pt idx="30">
                  <c:v>71051829</c:v>
                </c:pt>
                <c:pt idx="31">
                  <c:v>95187361</c:v>
                </c:pt>
                <c:pt idx="32">
                  <c:v>75840829</c:v>
                </c:pt>
                <c:pt idx="33">
                  <c:v>76234848</c:v>
                </c:pt>
                <c:pt idx="34">
                  <c:v>70556199</c:v>
                </c:pt>
                <c:pt idx="35">
                  <c:v>73154104</c:v>
                </c:pt>
                <c:pt idx="36">
                  <c:v>85068863</c:v>
                </c:pt>
                <c:pt idx="37">
                  <c:v>70311940</c:v>
                </c:pt>
                <c:pt idx="38">
                  <c:v>66166296</c:v>
                </c:pt>
                <c:pt idx="39">
                  <c:v>65530537</c:v>
                </c:pt>
                <c:pt idx="40">
                  <c:v>64921601</c:v>
                </c:pt>
                <c:pt idx="41">
                  <c:v>58609388</c:v>
                </c:pt>
                <c:pt idx="42">
                  <c:v>58710164</c:v>
                </c:pt>
                <c:pt idx="43">
                  <c:v>60609543</c:v>
                </c:pt>
                <c:pt idx="44">
                  <c:v>60610941</c:v>
                </c:pt>
                <c:pt idx="45">
                  <c:v>58486154</c:v>
                </c:pt>
                <c:pt idx="46">
                  <c:v>61519965</c:v>
                </c:pt>
                <c:pt idx="47">
                  <c:v>59102339</c:v>
                </c:pt>
                <c:pt idx="48">
                  <c:v>58983516</c:v>
                </c:pt>
                <c:pt idx="49">
                  <c:v>60585703</c:v>
                </c:pt>
                <c:pt idx="50">
                  <c:v>59235588</c:v>
                </c:pt>
                <c:pt idx="51">
                  <c:v>60055872</c:v>
                </c:pt>
                <c:pt idx="52">
                  <c:v>68623752</c:v>
                </c:pt>
                <c:pt idx="53">
                  <c:v>51215432</c:v>
                </c:pt>
                <c:pt idx="54">
                  <c:v>54958794</c:v>
                </c:pt>
                <c:pt idx="55">
                  <c:v>58324059</c:v>
                </c:pt>
                <c:pt idx="56">
                  <c:v>58243311</c:v>
                </c:pt>
                <c:pt idx="57">
                  <c:v>56266996</c:v>
                </c:pt>
                <c:pt idx="58">
                  <c:v>58728779</c:v>
                </c:pt>
                <c:pt idx="59">
                  <c:v>60574871</c:v>
                </c:pt>
                <c:pt idx="60">
                  <c:v>60725083</c:v>
                </c:pt>
                <c:pt idx="61">
                  <c:v>61481034</c:v>
                </c:pt>
                <c:pt idx="62">
                  <c:v>75212143</c:v>
                </c:pt>
                <c:pt idx="63">
                  <c:v>66682232</c:v>
                </c:pt>
                <c:pt idx="64">
                  <c:v>79684252</c:v>
                </c:pt>
                <c:pt idx="65">
                  <c:v>82470753</c:v>
                </c:pt>
                <c:pt idx="66">
                  <c:v>61467492</c:v>
                </c:pt>
                <c:pt idx="67">
                  <c:v>62968098</c:v>
                </c:pt>
                <c:pt idx="68">
                  <c:v>69072771</c:v>
                </c:pt>
                <c:pt idx="69">
                  <c:v>63529517</c:v>
                </c:pt>
                <c:pt idx="70">
                  <c:v>68605494</c:v>
                </c:pt>
                <c:pt idx="71">
                  <c:v>63195575</c:v>
                </c:pt>
                <c:pt idx="72">
                  <c:v>68453057</c:v>
                </c:pt>
                <c:pt idx="73">
                  <c:v>64630163</c:v>
                </c:pt>
                <c:pt idx="74">
                  <c:v>69253332</c:v>
                </c:pt>
                <c:pt idx="75">
                  <c:v>74738472</c:v>
                </c:pt>
                <c:pt idx="76">
                  <c:v>69085090</c:v>
                </c:pt>
                <c:pt idx="77">
                  <c:v>68115460</c:v>
                </c:pt>
                <c:pt idx="78">
                  <c:v>71433290</c:v>
                </c:pt>
                <c:pt idx="79">
                  <c:v>79633247</c:v>
                </c:pt>
                <c:pt idx="80">
                  <c:v>62722704</c:v>
                </c:pt>
                <c:pt idx="81">
                  <c:v>52438919</c:v>
                </c:pt>
                <c:pt idx="82">
                  <c:v>61744949</c:v>
                </c:pt>
                <c:pt idx="83">
                  <c:v>64890133</c:v>
                </c:pt>
                <c:pt idx="84">
                  <c:v>75874373</c:v>
                </c:pt>
                <c:pt idx="85">
                  <c:v>84334170</c:v>
                </c:pt>
                <c:pt idx="86">
                  <c:v>92428603</c:v>
                </c:pt>
                <c:pt idx="87">
                  <c:v>81426711</c:v>
                </c:pt>
                <c:pt idx="88">
                  <c:v>69516269</c:v>
                </c:pt>
                <c:pt idx="89">
                  <c:v>68173224</c:v>
                </c:pt>
                <c:pt idx="90">
                  <c:v>68398883</c:v>
                </c:pt>
                <c:pt idx="91">
                  <c:v>71908480</c:v>
                </c:pt>
                <c:pt idx="92">
                  <c:v>67773731</c:v>
                </c:pt>
                <c:pt idx="93">
                  <c:v>57402537</c:v>
                </c:pt>
                <c:pt idx="94">
                  <c:v>62047301</c:v>
                </c:pt>
                <c:pt idx="95">
                  <c:v>57559321</c:v>
                </c:pt>
                <c:pt idx="96">
                  <c:v>59177413</c:v>
                </c:pt>
                <c:pt idx="97">
                  <c:v>60650199</c:v>
                </c:pt>
                <c:pt idx="98">
                  <c:v>59338119</c:v>
                </c:pt>
                <c:pt idx="99">
                  <c:v>57463015</c:v>
                </c:pt>
                <c:pt idx="100">
                  <c:v>57933528</c:v>
                </c:pt>
                <c:pt idx="101">
                  <c:v>57365492</c:v>
                </c:pt>
                <c:pt idx="102">
                  <c:v>56022731</c:v>
                </c:pt>
                <c:pt idx="103">
                  <c:v>60083861</c:v>
                </c:pt>
                <c:pt idx="104">
                  <c:v>60649405</c:v>
                </c:pt>
                <c:pt idx="105">
                  <c:v>48481473</c:v>
                </c:pt>
                <c:pt idx="106">
                  <c:v>51992557</c:v>
                </c:pt>
                <c:pt idx="107">
                  <c:v>55404460</c:v>
                </c:pt>
                <c:pt idx="108">
                  <c:v>54315106</c:v>
                </c:pt>
                <c:pt idx="109">
                  <c:v>56248441</c:v>
                </c:pt>
                <c:pt idx="110">
                  <c:v>55769631</c:v>
                </c:pt>
                <c:pt idx="111">
                  <c:v>57724601</c:v>
                </c:pt>
                <c:pt idx="112">
                  <c:v>53026469</c:v>
                </c:pt>
                <c:pt idx="113">
                  <c:v>59123032</c:v>
                </c:pt>
                <c:pt idx="114">
                  <c:v>61516019</c:v>
                </c:pt>
                <c:pt idx="115">
                  <c:v>58151200</c:v>
                </c:pt>
                <c:pt idx="116">
                  <c:v>60089919</c:v>
                </c:pt>
                <c:pt idx="117">
                  <c:v>61329241</c:v>
                </c:pt>
                <c:pt idx="118">
                  <c:v>66590197</c:v>
                </c:pt>
                <c:pt idx="119">
                  <c:v>67060266</c:v>
                </c:pt>
                <c:pt idx="120">
                  <c:v>55831828</c:v>
                </c:pt>
                <c:pt idx="121">
                  <c:v>61196773</c:v>
                </c:pt>
                <c:pt idx="122">
                  <c:v>61705607</c:v>
                </c:pt>
                <c:pt idx="123">
                  <c:v>58342114</c:v>
                </c:pt>
                <c:pt idx="124">
                  <c:v>65211587</c:v>
                </c:pt>
                <c:pt idx="125">
                  <c:v>65110285</c:v>
                </c:pt>
                <c:pt idx="126">
                  <c:v>66272452</c:v>
                </c:pt>
                <c:pt idx="127">
                  <c:v>60492589</c:v>
                </c:pt>
                <c:pt idx="128">
                  <c:v>73934304</c:v>
                </c:pt>
                <c:pt idx="129">
                  <c:v>77475301</c:v>
                </c:pt>
                <c:pt idx="130">
                  <c:v>90132466</c:v>
                </c:pt>
                <c:pt idx="131">
                  <c:v>75287424</c:v>
                </c:pt>
                <c:pt idx="132">
                  <c:v>74609582</c:v>
                </c:pt>
                <c:pt idx="133">
                  <c:v>70572254</c:v>
                </c:pt>
                <c:pt idx="134">
                  <c:v>70991446</c:v>
                </c:pt>
                <c:pt idx="135">
                  <c:v>73954497</c:v>
                </c:pt>
                <c:pt idx="136">
                  <c:v>72317851</c:v>
                </c:pt>
                <c:pt idx="137">
                  <c:v>65832902</c:v>
                </c:pt>
                <c:pt idx="138">
                  <c:v>72576103</c:v>
                </c:pt>
                <c:pt idx="139">
                  <c:v>67916410</c:v>
                </c:pt>
                <c:pt idx="140">
                  <c:v>64871355</c:v>
                </c:pt>
                <c:pt idx="141">
                  <c:v>65184135</c:v>
                </c:pt>
                <c:pt idx="142">
                  <c:v>69845175</c:v>
                </c:pt>
                <c:pt idx="143">
                  <c:v>65599685</c:v>
                </c:pt>
                <c:pt idx="144">
                  <c:v>61736072</c:v>
                </c:pt>
                <c:pt idx="145">
                  <c:v>62110219</c:v>
                </c:pt>
                <c:pt idx="146">
                  <c:v>59616784</c:v>
                </c:pt>
                <c:pt idx="147">
                  <c:v>56574123</c:v>
                </c:pt>
                <c:pt idx="148">
                  <c:v>57728517</c:v>
                </c:pt>
                <c:pt idx="149">
                  <c:v>58705502</c:v>
                </c:pt>
                <c:pt idx="150">
                  <c:v>55340752</c:v>
                </c:pt>
                <c:pt idx="151">
                  <c:v>56867108</c:v>
                </c:pt>
                <c:pt idx="152">
                  <c:v>56104440</c:v>
                </c:pt>
                <c:pt idx="153">
                  <c:v>54453009</c:v>
                </c:pt>
                <c:pt idx="154">
                  <c:v>56647257</c:v>
                </c:pt>
                <c:pt idx="155">
                  <c:v>56690565</c:v>
                </c:pt>
                <c:pt idx="156">
                  <c:v>60910096</c:v>
                </c:pt>
                <c:pt idx="157">
                  <c:v>58808520</c:v>
                </c:pt>
                <c:pt idx="158">
                  <c:v>51807391</c:v>
                </c:pt>
                <c:pt idx="159">
                  <c:v>56396815</c:v>
                </c:pt>
                <c:pt idx="160">
                  <c:v>56599232</c:v>
                </c:pt>
                <c:pt idx="161">
                  <c:v>56265465</c:v>
                </c:pt>
                <c:pt idx="162">
                  <c:v>57053730</c:v>
                </c:pt>
                <c:pt idx="163">
                  <c:v>57734026</c:v>
                </c:pt>
                <c:pt idx="164">
                  <c:v>57939353</c:v>
                </c:pt>
                <c:pt idx="165">
                  <c:v>58616525</c:v>
                </c:pt>
                <c:pt idx="166">
                  <c:v>59938507</c:v>
                </c:pt>
                <c:pt idx="167">
                  <c:v>63757943</c:v>
                </c:pt>
                <c:pt idx="168">
                  <c:v>63155464</c:v>
                </c:pt>
                <c:pt idx="169">
                  <c:v>61569227</c:v>
                </c:pt>
                <c:pt idx="170">
                  <c:v>62813140</c:v>
                </c:pt>
                <c:pt idx="171">
                  <c:v>6485957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E$1</c:f>
              <c:strCache>
                <c:ptCount val="1"/>
                <c:pt idx="0">
                  <c:v>Value Sales</c:v>
                </c:pt>
              </c:strCache>
            </c:strRef>
          </c:tx>
          <c:spPr>
            <a:ln w="28575" cap="rnd">
              <a:solidFill>
                <a:schemeClr val="accent3"/>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E$2:$E$173</c:f>
              <c:numCache>
                <c:formatCode>General</c:formatCode>
                <c:ptCount val="172"/>
                <c:pt idx="0">
                  <c:v>85583802</c:v>
                </c:pt>
                <c:pt idx="1">
                  <c:v>58030970</c:v>
                </c:pt>
                <c:pt idx="2">
                  <c:v>60054132</c:v>
                </c:pt>
                <c:pt idx="3">
                  <c:v>68051385</c:v>
                </c:pt>
                <c:pt idx="4">
                  <c:v>67083935</c:v>
                </c:pt>
                <c:pt idx="5">
                  <c:v>66130940</c:v>
                </c:pt>
                <c:pt idx="6">
                  <c:v>69514485</c:v>
                </c:pt>
                <c:pt idx="7">
                  <c:v>71199139</c:v>
                </c:pt>
                <c:pt idx="8">
                  <c:v>73039428</c:v>
                </c:pt>
                <c:pt idx="9">
                  <c:v>73906241</c:v>
                </c:pt>
                <c:pt idx="10">
                  <c:v>76073500</c:v>
                </c:pt>
                <c:pt idx="11">
                  <c:v>73938938</c:v>
                </c:pt>
                <c:pt idx="12">
                  <c:v>74696040</c:v>
                </c:pt>
                <c:pt idx="13">
                  <c:v>74956355</c:v>
                </c:pt>
                <c:pt idx="14">
                  <c:v>76745302</c:v>
                </c:pt>
                <c:pt idx="15">
                  <c:v>75325403</c:v>
                </c:pt>
                <c:pt idx="16">
                  <c:v>75346506</c:v>
                </c:pt>
                <c:pt idx="17">
                  <c:v>80699253</c:v>
                </c:pt>
                <c:pt idx="18">
                  <c:v>76341851</c:v>
                </c:pt>
                <c:pt idx="19">
                  <c:v>74751123</c:v>
                </c:pt>
                <c:pt idx="20">
                  <c:v>76176291</c:v>
                </c:pt>
                <c:pt idx="21">
                  <c:v>77134024</c:v>
                </c:pt>
                <c:pt idx="22">
                  <c:v>81291501</c:v>
                </c:pt>
                <c:pt idx="23">
                  <c:v>80531615</c:v>
                </c:pt>
                <c:pt idx="24">
                  <c:v>101353525</c:v>
                </c:pt>
                <c:pt idx="25">
                  <c:v>79818977</c:v>
                </c:pt>
                <c:pt idx="26">
                  <c:v>95002218</c:v>
                </c:pt>
                <c:pt idx="27">
                  <c:v>116767921</c:v>
                </c:pt>
                <c:pt idx="28">
                  <c:v>96033385</c:v>
                </c:pt>
                <c:pt idx="29">
                  <c:v>80968099</c:v>
                </c:pt>
                <c:pt idx="30">
                  <c:v>82018590</c:v>
                </c:pt>
                <c:pt idx="31">
                  <c:v>108444233</c:v>
                </c:pt>
                <c:pt idx="32">
                  <c:v>87151037</c:v>
                </c:pt>
                <c:pt idx="33">
                  <c:v>87755029</c:v>
                </c:pt>
                <c:pt idx="34">
                  <c:v>82932510</c:v>
                </c:pt>
                <c:pt idx="35">
                  <c:v>83822367</c:v>
                </c:pt>
                <c:pt idx="36">
                  <c:v>97992970</c:v>
                </c:pt>
                <c:pt idx="37">
                  <c:v>82341930</c:v>
                </c:pt>
                <c:pt idx="38">
                  <c:v>77309988</c:v>
                </c:pt>
                <c:pt idx="39">
                  <c:v>75758625</c:v>
                </c:pt>
                <c:pt idx="40">
                  <c:v>73791140</c:v>
                </c:pt>
                <c:pt idx="41">
                  <c:v>67754647</c:v>
                </c:pt>
                <c:pt idx="42">
                  <c:v>69685175</c:v>
                </c:pt>
                <c:pt idx="43">
                  <c:v>70877850</c:v>
                </c:pt>
                <c:pt idx="44">
                  <c:v>69725818</c:v>
                </c:pt>
                <c:pt idx="45">
                  <c:v>68655401</c:v>
                </c:pt>
                <c:pt idx="46">
                  <c:v>71047465</c:v>
                </c:pt>
                <c:pt idx="47">
                  <c:v>68492727</c:v>
                </c:pt>
                <c:pt idx="48">
                  <c:v>68174272</c:v>
                </c:pt>
                <c:pt idx="49">
                  <c:v>68865383</c:v>
                </c:pt>
                <c:pt idx="50">
                  <c:v>68246592</c:v>
                </c:pt>
                <c:pt idx="51">
                  <c:v>70106730</c:v>
                </c:pt>
                <c:pt idx="52">
                  <c:v>79984267</c:v>
                </c:pt>
                <c:pt idx="53">
                  <c:v>57748140</c:v>
                </c:pt>
                <c:pt idx="54">
                  <c:v>63460717</c:v>
                </c:pt>
                <c:pt idx="55">
                  <c:v>69073111</c:v>
                </c:pt>
                <c:pt idx="56">
                  <c:v>67888787</c:v>
                </c:pt>
                <c:pt idx="57">
                  <c:v>67223171</c:v>
                </c:pt>
                <c:pt idx="58">
                  <c:v>69455937</c:v>
                </c:pt>
                <c:pt idx="59">
                  <c:v>69997556</c:v>
                </c:pt>
                <c:pt idx="60">
                  <c:v>68793069</c:v>
                </c:pt>
                <c:pt idx="61">
                  <c:v>70097390</c:v>
                </c:pt>
                <c:pt idx="62">
                  <c:v>87832271</c:v>
                </c:pt>
                <c:pt idx="63">
                  <c:v>77818033</c:v>
                </c:pt>
                <c:pt idx="64">
                  <c:v>93360680</c:v>
                </c:pt>
                <c:pt idx="65">
                  <c:v>93893191</c:v>
                </c:pt>
                <c:pt idx="66">
                  <c:v>68790210</c:v>
                </c:pt>
                <c:pt idx="67">
                  <c:v>70381847</c:v>
                </c:pt>
                <c:pt idx="68">
                  <c:v>78253551</c:v>
                </c:pt>
                <c:pt idx="69">
                  <c:v>70670886</c:v>
                </c:pt>
                <c:pt idx="70">
                  <c:v>77473509</c:v>
                </c:pt>
                <c:pt idx="71">
                  <c:v>72252729</c:v>
                </c:pt>
                <c:pt idx="72">
                  <c:v>77808897</c:v>
                </c:pt>
                <c:pt idx="73">
                  <c:v>75232513</c:v>
                </c:pt>
                <c:pt idx="74">
                  <c:v>80501907</c:v>
                </c:pt>
                <c:pt idx="75">
                  <c:v>86651718</c:v>
                </c:pt>
                <c:pt idx="76">
                  <c:v>78366099</c:v>
                </c:pt>
                <c:pt idx="77">
                  <c:v>78021358</c:v>
                </c:pt>
                <c:pt idx="78">
                  <c:v>83500895</c:v>
                </c:pt>
                <c:pt idx="79">
                  <c:v>93303815</c:v>
                </c:pt>
                <c:pt idx="80">
                  <c:v>82574785</c:v>
                </c:pt>
                <c:pt idx="81">
                  <c:v>76225457</c:v>
                </c:pt>
                <c:pt idx="82">
                  <c:v>78546201</c:v>
                </c:pt>
                <c:pt idx="83">
                  <c:v>82739940</c:v>
                </c:pt>
                <c:pt idx="84">
                  <c:v>89730196</c:v>
                </c:pt>
                <c:pt idx="85">
                  <c:v>97114163</c:v>
                </c:pt>
                <c:pt idx="86">
                  <c:v>105796590</c:v>
                </c:pt>
                <c:pt idx="87">
                  <c:v>94323485</c:v>
                </c:pt>
                <c:pt idx="88">
                  <c:v>81365702</c:v>
                </c:pt>
                <c:pt idx="89">
                  <c:v>77928235</c:v>
                </c:pt>
                <c:pt idx="90">
                  <c:v>78265007</c:v>
                </c:pt>
                <c:pt idx="91">
                  <c:v>84401107</c:v>
                </c:pt>
                <c:pt idx="92">
                  <c:v>77293698</c:v>
                </c:pt>
                <c:pt idx="93">
                  <c:v>66774391</c:v>
                </c:pt>
                <c:pt idx="94">
                  <c:v>72452386</c:v>
                </c:pt>
                <c:pt idx="95">
                  <c:v>67414770</c:v>
                </c:pt>
                <c:pt idx="96">
                  <c:v>68183520</c:v>
                </c:pt>
                <c:pt idx="97">
                  <c:v>70090394</c:v>
                </c:pt>
                <c:pt idx="98">
                  <c:v>68528925</c:v>
                </c:pt>
                <c:pt idx="99">
                  <c:v>67530105</c:v>
                </c:pt>
                <c:pt idx="100">
                  <c:v>67869245</c:v>
                </c:pt>
                <c:pt idx="101">
                  <c:v>65843807</c:v>
                </c:pt>
                <c:pt idx="102">
                  <c:v>63976487</c:v>
                </c:pt>
                <c:pt idx="103">
                  <c:v>68884281</c:v>
                </c:pt>
                <c:pt idx="104">
                  <c:v>73837702</c:v>
                </c:pt>
                <c:pt idx="105">
                  <c:v>56133386</c:v>
                </c:pt>
                <c:pt idx="106">
                  <c:v>58076498</c:v>
                </c:pt>
                <c:pt idx="107">
                  <c:v>65986549</c:v>
                </c:pt>
                <c:pt idx="108">
                  <c:v>64779000</c:v>
                </c:pt>
                <c:pt idx="109">
                  <c:v>66581553</c:v>
                </c:pt>
                <c:pt idx="110">
                  <c:v>66440685</c:v>
                </c:pt>
                <c:pt idx="111">
                  <c:v>67745979</c:v>
                </c:pt>
                <c:pt idx="112">
                  <c:v>61044852</c:v>
                </c:pt>
                <c:pt idx="113">
                  <c:v>69546730</c:v>
                </c:pt>
                <c:pt idx="114">
                  <c:v>72805918</c:v>
                </c:pt>
                <c:pt idx="115">
                  <c:v>71686040</c:v>
                </c:pt>
                <c:pt idx="116">
                  <c:v>69952569</c:v>
                </c:pt>
                <c:pt idx="117">
                  <c:v>69302173</c:v>
                </c:pt>
                <c:pt idx="118">
                  <c:v>79400516</c:v>
                </c:pt>
                <c:pt idx="119">
                  <c:v>80171422</c:v>
                </c:pt>
                <c:pt idx="120">
                  <c:v>65291989</c:v>
                </c:pt>
                <c:pt idx="121">
                  <c:v>70779034</c:v>
                </c:pt>
                <c:pt idx="122">
                  <c:v>72125275</c:v>
                </c:pt>
                <c:pt idx="123">
                  <c:v>69547199</c:v>
                </c:pt>
                <c:pt idx="124">
                  <c:v>75833505</c:v>
                </c:pt>
                <c:pt idx="125">
                  <c:v>74823615</c:v>
                </c:pt>
                <c:pt idx="126">
                  <c:v>80692116</c:v>
                </c:pt>
                <c:pt idx="127">
                  <c:v>68934806</c:v>
                </c:pt>
                <c:pt idx="128">
                  <c:v>87116603</c:v>
                </c:pt>
                <c:pt idx="129">
                  <c:v>89916606</c:v>
                </c:pt>
                <c:pt idx="130">
                  <c:v>109245729</c:v>
                </c:pt>
                <c:pt idx="131">
                  <c:v>90159629</c:v>
                </c:pt>
                <c:pt idx="132">
                  <c:v>89281213</c:v>
                </c:pt>
                <c:pt idx="133">
                  <c:v>81752497</c:v>
                </c:pt>
                <c:pt idx="134">
                  <c:v>82754007</c:v>
                </c:pt>
                <c:pt idx="135">
                  <c:v>85444793</c:v>
                </c:pt>
                <c:pt idx="136">
                  <c:v>85393755</c:v>
                </c:pt>
                <c:pt idx="137">
                  <c:v>76566324</c:v>
                </c:pt>
                <c:pt idx="138">
                  <c:v>82309425</c:v>
                </c:pt>
                <c:pt idx="139">
                  <c:v>77387143</c:v>
                </c:pt>
                <c:pt idx="140">
                  <c:v>75119857</c:v>
                </c:pt>
                <c:pt idx="141">
                  <c:v>75725286</c:v>
                </c:pt>
                <c:pt idx="142">
                  <c:v>80647738</c:v>
                </c:pt>
                <c:pt idx="143">
                  <c:v>75751734</c:v>
                </c:pt>
                <c:pt idx="144">
                  <c:v>73101601</c:v>
                </c:pt>
                <c:pt idx="145">
                  <c:v>74577790</c:v>
                </c:pt>
                <c:pt idx="146">
                  <c:v>70291795</c:v>
                </c:pt>
                <c:pt idx="147">
                  <c:v>66298115</c:v>
                </c:pt>
                <c:pt idx="148">
                  <c:v>65725461</c:v>
                </c:pt>
                <c:pt idx="149">
                  <c:v>67652085</c:v>
                </c:pt>
                <c:pt idx="150">
                  <c:v>64237606</c:v>
                </c:pt>
                <c:pt idx="151">
                  <c:v>65208744</c:v>
                </c:pt>
                <c:pt idx="152">
                  <c:v>65156549</c:v>
                </c:pt>
                <c:pt idx="153">
                  <c:v>64610080</c:v>
                </c:pt>
                <c:pt idx="154">
                  <c:v>64647876</c:v>
                </c:pt>
                <c:pt idx="155">
                  <c:v>64710131</c:v>
                </c:pt>
                <c:pt idx="156">
                  <c:v>71500963</c:v>
                </c:pt>
                <c:pt idx="157">
                  <c:v>69251930</c:v>
                </c:pt>
                <c:pt idx="158">
                  <c:v>59660905</c:v>
                </c:pt>
                <c:pt idx="159">
                  <c:v>68374751</c:v>
                </c:pt>
                <c:pt idx="160">
                  <c:v>66144288</c:v>
                </c:pt>
                <c:pt idx="161">
                  <c:v>66017058</c:v>
                </c:pt>
                <c:pt idx="162">
                  <c:v>66874583</c:v>
                </c:pt>
                <c:pt idx="163">
                  <c:v>67452117</c:v>
                </c:pt>
                <c:pt idx="164">
                  <c:v>68009161</c:v>
                </c:pt>
                <c:pt idx="165">
                  <c:v>68740212</c:v>
                </c:pt>
                <c:pt idx="166">
                  <c:v>70386031</c:v>
                </c:pt>
                <c:pt idx="167">
                  <c:v>74458559</c:v>
                </c:pt>
                <c:pt idx="168">
                  <c:v>75534529</c:v>
                </c:pt>
                <c:pt idx="169">
                  <c:v>73322739</c:v>
                </c:pt>
                <c:pt idx="170">
                  <c:v>74607541</c:v>
                </c:pt>
                <c:pt idx="171">
                  <c:v>75698060</c:v>
                </c:pt>
              </c:numCache>
            </c:numRef>
          </c:val>
          <c:smooth val="0"/>
          <c:extLst>
            <c:ext xmlns:c16="http://schemas.microsoft.com/office/drawing/2014/chart" uri="{C3380CC4-5D6E-409C-BE32-E72D297353CC}">
              <c16:uniqueId val="{00000002-2607-4594-924D-A7A362348187}"/>
            </c:ext>
          </c:extLst>
        </c:ser>
        <c:ser>
          <c:idx val="3"/>
          <c:order val="3"/>
          <c:tx>
            <c:strRef>
              <c:f>Sheet1!$B$1</c:f>
              <c:strCache>
                <c:ptCount val="1"/>
                <c:pt idx="0">
                  <c:v>Base Sales</c:v>
                </c:pt>
              </c:strCache>
            </c:strRef>
          </c:tx>
          <c:spPr>
            <a:ln w="25400">
              <a:solidFill>
                <a:schemeClr val="tx2"/>
              </a:solidFill>
              <a:prstDash val="sysDot"/>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B$2:$B$173</c:f>
              <c:numCache>
                <c:formatCode>General</c:formatCode>
                <c:ptCount val="172"/>
                <c:pt idx="0">
                  <c:v>75779549</c:v>
                </c:pt>
                <c:pt idx="1">
                  <c:v>52373438</c:v>
                </c:pt>
                <c:pt idx="2">
                  <c:v>53775159</c:v>
                </c:pt>
                <c:pt idx="3">
                  <c:v>61893100</c:v>
                </c:pt>
                <c:pt idx="4">
                  <c:v>60496141</c:v>
                </c:pt>
                <c:pt idx="5">
                  <c:v>59283439</c:v>
                </c:pt>
                <c:pt idx="6">
                  <c:v>61118217</c:v>
                </c:pt>
                <c:pt idx="7">
                  <c:v>62959210</c:v>
                </c:pt>
                <c:pt idx="8">
                  <c:v>64995210</c:v>
                </c:pt>
                <c:pt idx="9">
                  <c:v>66236993</c:v>
                </c:pt>
                <c:pt idx="10">
                  <c:v>67994274</c:v>
                </c:pt>
                <c:pt idx="11">
                  <c:v>66971501</c:v>
                </c:pt>
                <c:pt idx="12">
                  <c:v>66978398</c:v>
                </c:pt>
                <c:pt idx="13">
                  <c:v>68344162</c:v>
                </c:pt>
                <c:pt idx="14">
                  <c:v>68946268</c:v>
                </c:pt>
                <c:pt idx="15">
                  <c:v>69164522</c:v>
                </c:pt>
                <c:pt idx="16">
                  <c:v>68959606</c:v>
                </c:pt>
                <c:pt idx="17">
                  <c:v>72084197</c:v>
                </c:pt>
                <c:pt idx="18">
                  <c:v>69753193</c:v>
                </c:pt>
                <c:pt idx="19">
                  <c:v>68333362</c:v>
                </c:pt>
                <c:pt idx="20">
                  <c:v>67935806</c:v>
                </c:pt>
                <c:pt idx="21">
                  <c:v>68679469</c:v>
                </c:pt>
                <c:pt idx="22">
                  <c:v>70211248</c:v>
                </c:pt>
                <c:pt idx="23">
                  <c:v>73067269</c:v>
                </c:pt>
                <c:pt idx="24">
                  <c:v>91817335</c:v>
                </c:pt>
                <c:pt idx="25">
                  <c:v>73180158</c:v>
                </c:pt>
                <c:pt idx="26">
                  <c:v>84432273</c:v>
                </c:pt>
                <c:pt idx="27">
                  <c:v>106837500</c:v>
                </c:pt>
                <c:pt idx="28">
                  <c:v>83820619</c:v>
                </c:pt>
                <c:pt idx="29">
                  <c:v>71235027</c:v>
                </c:pt>
                <c:pt idx="30">
                  <c:v>73288753</c:v>
                </c:pt>
                <c:pt idx="31">
                  <c:v>96040967</c:v>
                </c:pt>
                <c:pt idx="32">
                  <c:v>78100069</c:v>
                </c:pt>
                <c:pt idx="33">
                  <c:v>76570933</c:v>
                </c:pt>
                <c:pt idx="34">
                  <c:v>72575680</c:v>
                </c:pt>
                <c:pt idx="35">
                  <c:v>76912089</c:v>
                </c:pt>
                <c:pt idx="36">
                  <c:v>88420140</c:v>
                </c:pt>
                <c:pt idx="37">
                  <c:v>74384135</c:v>
                </c:pt>
                <c:pt idx="38">
                  <c:v>69873780</c:v>
                </c:pt>
                <c:pt idx="39">
                  <c:v>69480318</c:v>
                </c:pt>
                <c:pt idx="40">
                  <c:v>68290051</c:v>
                </c:pt>
                <c:pt idx="41">
                  <c:v>62466187</c:v>
                </c:pt>
                <c:pt idx="42">
                  <c:v>63188328</c:v>
                </c:pt>
                <c:pt idx="43">
                  <c:v>65144196</c:v>
                </c:pt>
                <c:pt idx="44">
                  <c:v>64863250</c:v>
                </c:pt>
                <c:pt idx="45">
                  <c:v>62775626</c:v>
                </c:pt>
                <c:pt idx="46">
                  <c:v>64222964</c:v>
                </c:pt>
                <c:pt idx="47">
                  <c:v>62026251</c:v>
                </c:pt>
                <c:pt idx="48">
                  <c:v>61667576</c:v>
                </c:pt>
                <c:pt idx="49">
                  <c:v>62857119</c:v>
                </c:pt>
                <c:pt idx="50">
                  <c:v>62122854</c:v>
                </c:pt>
                <c:pt idx="51">
                  <c:v>62775965</c:v>
                </c:pt>
                <c:pt idx="52">
                  <c:v>71557782</c:v>
                </c:pt>
                <c:pt idx="53">
                  <c:v>50517724</c:v>
                </c:pt>
                <c:pt idx="54">
                  <c:v>57710140</c:v>
                </c:pt>
                <c:pt idx="55">
                  <c:v>61387139</c:v>
                </c:pt>
                <c:pt idx="56">
                  <c:v>61560385</c:v>
                </c:pt>
                <c:pt idx="57">
                  <c:v>59885857</c:v>
                </c:pt>
                <c:pt idx="58">
                  <c:v>61105645</c:v>
                </c:pt>
                <c:pt idx="59">
                  <c:v>62103011</c:v>
                </c:pt>
                <c:pt idx="60">
                  <c:v>62005973</c:v>
                </c:pt>
                <c:pt idx="61">
                  <c:v>63419114</c:v>
                </c:pt>
                <c:pt idx="62">
                  <c:v>73546292</c:v>
                </c:pt>
                <c:pt idx="63">
                  <c:v>68076146</c:v>
                </c:pt>
                <c:pt idx="64">
                  <c:v>76901239</c:v>
                </c:pt>
                <c:pt idx="65">
                  <c:v>78627167</c:v>
                </c:pt>
                <c:pt idx="66">
                  <c:v>61226839</c:v>
                </c:pt>
                <c:pt idx="67">
                  <c:v>65024685</c:v>
                </c:pt>
                <c:pt idx="68">
                  <c:v>71767279</c:v>
                </c:pt>
                <c:pt idx="69">
                  <c:v>65921231</c:v>
                </c:pt>
                <c:pt idx="70">
                  <c:v>70501955</c:v>
                </c:pt>
                <c:pt idx="71">
                  <c:v>66362616</c:v>
                </c:pt>
                <c:pt idx="72">
                  <c:v>69366706</c:v>
                </c:pt>
                <c:pt idx="73">
                  <c:v>66875712</c:v>
                </c:pt>
                <c:pt idx="74">
                  <c:v>71097641</c:v>
                </c:pt>
                <c:pt idx="75">
                  <c:v>77446213</c:v>
                </c:pt>
                <c:pt idx="76">
                  <c:v>71315684</c:v>
                </c:pt>
                <c:pt idx="77">
                  <c:v>70989197</c:v>
                </c:pt>
                <c:pt idx="78">
                  <c:v>74202496</c:v>
                </c:pt>
                <c:pt idx="79">
                  <c:v>82321771</c:v>
                </c:pt>
                <c:pt idx="80">
                  <c:v>74418148</c:v>
                </c:pt>
                <c:pt idx="81">
                  <c:v>70587818</c:v>
                </c:pt>
                <c:pt idx="82">
                  <c:v>72331921</c:v>
                </c:pt>
                <c:pt idx="83">
                  <c:v>74873938</c:v>
                </c:pt>
                <c:pt idx="84">
                  <c:v>78418421</c:v>
                </c:pt>
                <c:pt idx="85">
                  <c:v>85106621</c:v>
                </c:pt>
                <c:pt idx="86">
                  <c:v>96952128</c:v>
                </c:pt>
                <c:pt idx="87">
                  <c:v>85170764</c:v>
                </c:pt>
                <c:pt idx="88">
                  <c:v>71838097</c:v>
                </c:pt>
                <c:pt idx="89">
                  <c:v>69444505</c:v>
                </c:pt>
                <c:pt idx="90">
                  <c:v>71005119</c:v>
                </c:pt>
                <c:pt idx="91">
                  <c:v>75414655</c:v>
                </c:pt>
                <c:pt idx="92">
                  <c:v>70672286</c:v>
                </c:pt>
                <c:pt idx="93">
                  <c:v>60859051</c:v>
                </c:pt>
                <c:pt idx="94">
                  <c:v>66682625</c:v>
                </c:pt>
                <c:pt idx="95">
                  <c:v>61802952</c:v>
                </c:pt>
                <c:pt idx="96">
                  <c:v>62655753</c:v>
                </c:pt>
                <c:pt idx="97">
                  <c:v>64404827</c:v>
                </c:pt>
                <c:pt idx="98">
                  <c:v>61724639</c:v>
                </c:pt>
                <c:pt idx="99">
                  <c:v>60787246</c:v>
                </c:pt>
                <c:pt idx="100">
                  <c:v>60801297</c:v>
                </c:pt>
                <c:pt idx="101">
                  <c:v>60249232</c:v>
                </c:pt>
                <c:pt idx="102">
                  <c:v>59733378</c:v>
                </c:pt>
                <c:pt idx="103">
                  <c:v>61162299</c:v>
                </c:pt>
                <c:pt idx="104">
                  <c:v>62577924</c:v>
                </c:pt>
                <c:pt idx="105">
                  <c:v>51159723</c:v>
                </c:pt>
                <c:pt idx="106">
                  <c:v>53100136</c:v>
                </c:pt>
                <c:pt idx="107">
                  <c:v>57580816</c:v>
                </c:pt>
                <c:pt idx="108">
                  <c:v>56213172</c:v>
                </c:pt>
                <c:pt idx="109">
                  <c:v>58746956</c:v>
                </c:pt>
                <c:pt idx="110">
                  <c:v>57536982</c:v>
                </c:pt>
                <c:pt idx="111">
                  <c:v>59865294</c:v>
                </c:pt>
                <c:pt idx="112">
                  <c:v>53680714</c:v>
                </c:pt>
                <c:pt idx="113">
                  <c:v>59594637</c:v>
                </c:pt>
                <c:pt idx="114">
                  <c:v>62347253</c:v>
                </c:pt>
                <c:pt idx="115">
                  <c:v>60676168</c:v>
                </c:pt>
                <c:pt idx="116">
                  <c:v>61176450</c:v>
                </c:pt>
                <c:pt idx="117">
                  <c:v>62541482</c:v>
                </c:pt>
                <c:pt idx="118">
                  <c:v>65745592</c:v>
                </c:pt>
                <c:pt idx="119">
                  <c:v>68424655</c:v>
                </c:pt>
                <c:pt idx="120">
                  <c:v>58904825</c:v>
                </c:pt>
                <c:pt idx="121">
                  <c:v>64826742</c:v>
                </c:pt>
                <c:pt idx="122">
                  <c:v>65752860</c:v>
                </c:pt>
                <c:pt idx="123">
                  <c:v>62864727</c:v>
                </c:pt>
                <c:pt idx="124">
                  <c:v>66365796</c:v>
                </c:pt>
                <c:pt idx="125">
                  <c:v>66453132</c:v>
                </c:pt>
                <c:pt idx="126">
                  <c:v>68007716</c:v>
                </c:pt>
                <c:pt idx="127">
                  <c:v>61763135</c:v>
                </c:pt>
                <c:pt idx="128">
                  <c:v>79615099</c:v>
                </c:pt>
                <c:pt idx="129">
                  <c:v>79590327</c:v>
                </c:pt>
                <c:pt idx="130">
                  <c:v>97861968</c:v>
                </c:pt>
                <c:pt idx="131">
                  <c:v>80193430</c:v>
                </c:pt>
                <c:pt idx="132">
                  <c:v>79171256</c:v>
                </c:pt>
                <c:pt idx="133">
                  <c:v>74599546</c:v>
                </c:pt>
                <c:pt idx="134">
                  <c:v>75249296</c:v>
                </c:pt>
                <c:pt idx="135">
                  <c:v>77434757</c:v>
                </c:pt>
                <c:pt idx="136">
                  <c:v>76191130</c:v>
                </c:pt>
                <c:pt idx="137">
                  <c:v>70311879</c:v>
                </c:pt>
                <c:pt idx="138">
                  <c:v>75309357</c:v>
                </c:pt>
                <c:pt idx="139">
                  <c:v>71128030</c:v>
                </c:pt>
                <c:pt idx="140">
                  <c:v>68480484</c:v>
                </c:pt>
                <c:pt idx="141">
                  <c:v>68718914</c:v>
                </c:pt>
                <c:pt idx="142">
                  <c:v>71802486</c:v>
                </c:pt>
                <c:pt idx="143">
                  <c:v>68848664</c:v>
                </c:pt>
                <c:pt idx="144">
                  <c:v>65776146</c:v>
                </c:pt>
                <c:pt idx="145">
                  <c:v>67260944</c:v>
                </c:pt>
                <c:pt idx="146">
                  <c:v>64001018</c:v>
                </c:pt>
                <c:pt idx="147">
                  <c:v>59191921</c:v>
                </c:pt>
                <c:pt idx="148">
                  <c:v>59480381</c:v>
                </c:pt>
                <c:pt idx="149">
                  <c:v>58294077</c:v>
                </c:pt>
                <c:pt idx="150">
                  <c:v>55197296</c:v>
                </c:pt>
                <c:pt idx="151">
                  <c:v>56401001</c:v>
                </c:pt>
                <c:pt idx="152">
                  <c:v>57196874</c:v>
                </c:pt>
                <c:pt idx="153">
                  <c:v>56966974</c:v>
                </c:pt>
                <c:pt idx="154">
                  <c:v>58350206</c:v>
                </c:pt>
                <c:pt idx="155">
                  <c:v>58862659</c:v>
                </c:pt>
                <c:pt idx="156">
                  <c:v>61777013</c:v>
                </c:pt>
                <c:pt idx="157">
                  <c:v>61243999</c:v>
                </c:pt>
                <c:pt idx="158">
                  <c:v>52740357</c:v>
                </c:pt>
                <c:pt idx="159">
                  <c:v>59979121</c:v>
                </c:pt>
                <c:pt idx="160">
                  <c:v>60032369</c:v>
                </c:pt>
                <c:pt idx="161">
                  <c:v>59352100</c:v>
                </c:pt>
                <c:pt idx="162">
                  <c:v>60422060</c:v>
                </c:pt>
                <c:pt idx="163">
                  <c:v>59971503</c:v>
                </c:pt>
                <c:pt idx="164">
                  <c:v>60117934</c:v>
                </c:pt>
                <c:pt idx="165">
                  <c:v>60711665</c:v>
                </c:pt>
                <c:pt idx="166">
                  <c:v>62108476</c:v>
                </c:pt>
                <c:pt idx="167">
                  <c:v>63294368</c:v>
                </c:pt>
                <c:pt idx="168">
                  <c:v>64082360</c:v>
                </c:pt>
                <c:pt idx="169">
                  <c:v>59176434</c:v>
                </c:pt>
                <c:pt idx="170">
                  <c:v>60537655</c:v>
                </c:pt>
                <c:pt idx="171">
                  <c:v>6283754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 Promo Value</c:v>
                </c:pt>
              </c:strCache>
            </c:strRef>
          </c:tx>
          <c:spPr>
            <a:ln w="28575" cap="rnd">
              <a:solidFill>
                <a:schemeClr val="accent5"/>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F$2:$F$173</c:f>
              <c:numCache>
                <c:formatCode>General</c:formatCode>
                <c:ptCount val="172"/>
                <c:pt idx="0">
                  <c:v>0.14540877723567361</c:v>
                </c:pt>
                <c:pt idx="1">
                  <c:v>0.1238193330216607</c:v>
                </c:pt>
                <c:pt idx="2">
                  <c:v>0.12837659530238479</c:v>
                </c:pt>
                <c:pt idx="3">
                  <c:v>0.11864809217328939</c:v>
                </c:pt>
                <c:pt idx="4">
                  <c:v>0.12526064548837221</c:v>
                </c:pt>
                <c:pt idx="5">
                  <c:v>0.14417224373341739</c:v>
                </c:pt>
                <c:pt idx="6">
                  <c:v>0.1573678493050765</c:v>
                </c:pt>
                <c:pt idx="7">
                  <c:v>0.1101345762060409</c:v>
                </c:pt>
                <c:pt idx="8">
                  <c:v>0.12565574856363881</c:v>
                </c:pt>
                <c:pt idx="9">
                  <c:v>0.1163000970378131</c:v>
                </c:pt>
                <c:pt idx="10">
                  <c:v>0.11847805083241859</c:v>
                </c:pt>
                <c:pt idx="11">
                  <c:v>0.11059682788519359</c:v>
                </c:pt>
                <c:pt idx="12">
                  <c:v>0.1498036040464796</c:v>
                </c:pt>
                <c:pt idx="13">
                  <c:v>0.13582837639316911</c:v>
                </c:pt>
                <c:pt idx="14">
                  <c:v>0.13526408430837891</c:v>
                </c:pt>
                <c:pt idx="15">
                  <c:v>0.1241313504821209</c:v>
                </c:pt>
                <c:pt idx="16">
                  <c:v>0.1267672717298928</c:v>
                </c:pt>
                <c:pt idx="17">
                  <c:v>0.131275911562651</c:v>
                </c:pt>
                <c:pt idx="18">
                  <c:v>0.1482350617880617</c:v>
                </c:pt>
                <c:pt idx="19">
                  <c:v>0.13698364103506511</c:v>
                </c:pt>
                <c:pt idx="20">
                  <c:v>0.13286938583029731</c:v>
                </c:pt>
                <c:pt idx="21">
                  <c:v>0.13066292249967409</c:v>
                </c:pt>
                <c:pt idx="22">
                  <c:v>0.15162093021261841</c:v>
                </c:pt>
                <c:pt idx="23">
                  <c:v>0.12546913407858509</c:v>
                </c:pt>
                <c:pt idx="24">
                  <c:v>0.128836347823127</c:v>
                </c:pt>
                <c:pt idx="25">
                  <c:v>0.1167861246831064</c:v>
                </c:pt>
                <c:pt idx="26">
                  <c:v>0.1321240310410437</c:v>
                </c:pt>
                <c:pt idx="27">
                  <c:v>0.1308187802709958</c:v>
                </c:pt>
                <c:pt idx="28">
                  <c:v>0.15124710016209469</c:v>
                </c:pt>
                <c:pt idx="29">
                  <c:v>0.1428109976992297</c:v>
                </c:pt>
                <c:pt idx="30">
                  <c:v>0.13371067461657171</c:v>
                </c:pt>
                <c:pt idx="31">
                  <c:v>0.1222459842562582</c:v>
                </c:pt>
                <c:pt idx="32">
                  <c:v>0.12977709031735329</c:v>
                </c:pt>
                <c:pt idx="33">
                  <c:v>0.13127659042765519</c:v>
                </c:pt>
                <c:pt idx="34">
                  <c:v>0.14923352735857151</c:v>
                </c:pt>
                <c:pt idx="35">
                  <c:v>0.1272722708963826</c:v>
                </c:pt>
                <c:pt idx="36">
                  <c:v>0.13188810380989571</c:v>
                </c:pt>
                <c:pt idx="37">
                  <c:v>0.14609798434406379</c:v>
                </c:pt>
                <c:pt idx="38">
                  <c:v>0.14414297930042361</c:v>
                </c:pt>
                <c:pt idx="39">
                  <c:v>0.1350088917268496</c:v>
                </c:pt>
                <c:pt idx="40">
                  <c:v>0.1201978855456089</c:v>
                </c:pt>
                <c:pt idx="41">
                  <c:v>0.1349761146272373</c:v>
                </c:pt>
                <c:pt idx="42">
                  <c:v>0.15749420160026861</c:v>
                </c:pt>
                <c:pt idx="43">
                  <c:v>0.14487328551867759</c:v>
                </c:pt>
                <c:pt idx="44">
                  <c:v>0.13072456173981351</c:v>
                </c:pt>
                <c:pt idx="45">
                  <c:v>0.14812013114598219</c:v>
                </c:pt>
                <c:pt idx="46">
                  <c:v>0.13410049183317099</c:v>
                </c:pt>
                <c:pt idx="47">
                  <c:v>0.13710051287635261</c:v>
                </c:pt>
                <c:pt idx="48">
                  <c:v>0.1348126753740766</c:v>
                </c:pt>
                <c:pt idx="49">
                  <c:v>0.1202299274223161</c:v>
                </c:pt>
                <c:pt idx="50">
                  <c:v>0.13203595572948171</c:v>
                </c:pt>
                <c:pt idx="51">
                  <c:v>0.14336509490600971</c:v>
                </c:pt>
                <c:pt idx="52">
                  <c:v>0.1420343703343559</c:v>
                </c:pt>
                <c:pt idx="53">
                  <c:v>0.1131241283269037</c:v>
                </c:pt>
                <c:pt idx="54">
                  <c:v>0.1339714299162425</c:v>
                </c:pt>
                <c:pt idx="55">
                  <c:v>0.15561847214323379</c:v>
                </c:pt>
                <c:pt idx="56">
                  <c:v>0.14207760112137521</c:v>
                </c:pt>
                <c:pt idx="57">
                  <c:v>0.1629821211498636</c:v>
                </c:pt>
                <c:pt idx="58">
                  <c:v>0.15444551557917929</c:v>
                </c:pt>
                <c:pt idx="59">
                  <c:v>0.1346144856829001</c:v>
                </c:pt>
                <c:pt idx="60">
                  <c:v>0.1172790532139219</c:v>
                </c:pt>
                <c:pt idx="61">
                  <c:v>0.12291978346126731</c:v>
                </c:pt>
                <c:pt idx="62">
                  <c:v>0.14368440957196699</c:v>
                </c:pt>
                <c:pt idx="63">
                  <c:v>0.14310052015835459</c:v>
                </c:pt>
                <c:pt idx="64">
                  <c:v>0.14649023550385451</c:v>
                </c:pt>
                <c:pt idx="65">
                  <c:v>0.1216535286355323</c:v>
                </c:pt>
                <c:pt idx="66">
                  <c:v>0.1064500021151266</c:v>
                </c:pt>
                <c:pt idx="67">
                  <c:v>0.1053360961101234</c:v>
                </c:pt>
                <c:pt idx="68">
                  <c:v>0.1173209379341776</c:v>
                </c:pt>
                <c:pt idx="69">
                  <c:v>0.1010510749787402</c:v>
                </c:pt>
                <c:pt idx="70">
                  <c:v>0.11446512639565611</c:v>
                </c:pt>
                <c:pt idx="71">
                  <c:v>0.1253537980551572</c:v>
                </c:pt>
                <c:pt idx="72">
                  <c:v>0.12024126238417179</c:v>
                </c:pt>
                <c:pt idx="73">
                  <c:v>0.14092776616407859</c:v>
                </c:pt>
                <c:pt idx="74">
                  <c:v>0.1397305407932759</c:v>
                </c:pt>
                <c:pt idx="75">
                  <c:v>0.13748424468629691</c:v>
                </c:pt>
                <c:pt idx="76">
                  <c:v>0.1184314278550474</c:v>
                </c:pt>
                <c:pt idx="77">
                  <c:v>0.1269639269800969</c:v>
                </c:pt>
                <c:pt idx="78">
                  <c:v>0.14452066651501161</c:v>
                </c:pt>
                <c:pt idx="79">
                  <c:v>0.14651670995446431</c:v>
                </c:pt>
                <c:pt idx="80">
                  <c:v>0.2404133537859045</c:v>
                </c:pt>
                <c:pt idx="81">
                  <c:v>0.31205503956506292</c:v>
                </c:pt>
                <c:pt idx="82">
                  <c:v>0.21390279588442479</c:v>
                </c:pt>
                <c:pt idx="83">
                  <c:v>0.2157338644432181</c:v>
                </c:pt>
                <c:pt idx="84">
                  <c:v>0.15441650211039329</c:v>
                </c:pt>
                <c:pt idx="85">
                  <c:v>0.13159762289255381</c:v>
                </c:pt>
                <c:pt idx="86">
                  <c:v>0.1263555564503544</c:v>
                </c:pt>
                <c:pt idx="87">
                  <c:v>0.1367291931590526</c:v>
                </c:pt>
                <c:pt idx="88">
                  <c:v>0.1456317921278428</c:v>
                </c:pt>
                <c:pt idx="89">
                  <c:v>0.12517941667740839</c:v>
                </c:pt>
                <c:pt idx="90">
                  <c:v>0.12606047553282659</c:v>
                </c:pt>
                <c:pt idx="91">
                  <c:v>0.14801496620180579</c:v>
                </c:pt>
                <c:pt idx="92">
                  <c:v>0.1231661473875917</c:v>
                </c:pt>
                <c:pt idx="93">
                  <c:v>0.14035102169632671</c:v>
                </c:pt>
                <c:pt idx="94">
                  <c:v>0.1436127307111735</c:v>
                </c:pt>
                <c:pt idx="95">
                  <c:v>0.1461912426609184</c:v>
                </c:pt>
                <c:pt idx="96">
                  <c:v>0.1320862724599727</c:v>
                </c:pt>
                <c:pt idx="97">
                  <c:v>0.13468600276380241</c:v>
                </c:pt>
                <c:pt idx="98">
                  <c:v>0.13411571828975871</c:v>
                </c:pt>
                <c:pt idx="99">
                  <c:v>0.14907558636255641</c:v>
                </c:pt>
                <c:pt idx="100">
                  <c:v>0.1463949834715268</c:v>
                </c:pt>
                <c:pt idx="101">
                  <c:v>0.12876404610079731</c:v>
                </c:pt>
                <c:pt idx="102">
                  <c:v>0.124323112646057</c:v>
                </c:pt>
                <c:pt idx="103">
                  <c:v>0.1277565777307017</c:v>
                </c:pt>
                <c:pt idx="104">
                  <c:v>0.17861196438643229</c:v>
                </c:pt>
                <c:pt idx="105">
                  <c:v>0.1363166120069792</c:v>
                </c:pt>
                <c:pt idx="106">
                  <c:v>0.10475736674067369</c:v>
                </c:pt>
                <c:pt idx="107">
                  <c:v>0.1603673651731658</c:v>
                </c:pt>
                <c:pt idx="108">
                  <c:v>0.16153219407524039</c:v>
                </c:pt>
                <c:pt idx="109">
                  <c:v>0.15519481800011481</c:v>
                </c:pt>
                <c:pt idx="110">
                  <c:v>0.1606102345272328</c:v>
                </c:pt>
                <c:pt idx="111">
                  <c:v>0.14792579792816929</c:v>
                </c:pt>
                <c:pt idx="112">
                  <c:v>0.13135232107696809</c:v>
                </c:pt>
                <c:pt idx="113">
                  <c:v>0.1498804904270841</c:v>
                </c:pt>
                <c:pt idx="114">
                  <c:v>0.15506842452010561</c:v>
                </c:pt>
                <c:pt idx="115">
                  <c:v>0.18880719314388131</c:v>
                </c:pt>
                <c:pt idx="116">
                  <c:v>0.14099053317112631</c:v>
                </c:pt>
                <c:pt idx="117">
                  <c:v>0.1150459163812944</c:v>
                </c:pt>
                <c:pt idx="118">
                  <c:v>0.16133798173301539</c:v>
                </c:pt>
                <c:pt idx="119">
                  <c:v>0.16353902267069681</c:v>
                </c:pt>
                <c:pt idx="120">
                  <c:v>0.14489007219553379</c:v>
                </c:pt>
                <c:pt idx="121">
                  <c:v>0.13538276038070821</c:v>
                </c:pt>
                <c:pt idx="122">
                  <c:v>0.14446624986871801</c:v>
                </c:pt>
                <c:pt idx="123">
                  <c:v>0.1611148279314599</c:v>
                </c:pt>
                <c:pt idx="124">
                  <c:v>0.1400689312725292</c:v>
                </c:pt>
                <c:pt idx="125">
                  <c:v>0.12981636880281711</c:v>
                </c:pt>
                <c:pt idx="126">
                  <c:v>0.17869978772151671</c:v>
                </c:pt>
                <c:pt idx="127">
                  <c:v>0.1224666825057867</c:v>
                </c:pt>
                <c:pt idx="128">
                  <c:v>0.15131787220858459</c:v>
                </c:pt>
                <c:pt idx="129">
                  <c:v>0.138364931167442</c:v>
                </c:pt>
                <c:pt idx="130">
                  <c:v>0.1749566154664042</c:v>
                </c:pt>
                <c:pt idx="131">
                  <c:v>0.1649541503769941</c:v>
                </c:pt>
                <c:pt idx="132">
                  <c:v>0.16433055182617201</c:v>
                </c:pt>
                <c:pt idx="133">
                  <c:v>0.13675720510408379</c:v>
                </c:pt>
                <c:pt idx="134">
                  <c:v>0.14213886948096671</c:v>
                </c:pt>
                <c:pt idx="135">
                  <c:v>0.1344762576696745</c:v>
                </c:pt>
                <c:pt idx="136">
                  <c:v>0.15312482745371719</c:v>
                </c:pt>
                <c:pt idx="137">
                  <c:v>0.1401846326068886</c:v>
                </c:pt>
                <c:pt idx="138">
                  <c:v>0.1182528246309581</c:v>
                </c:pt>
                <c:pt idx="139">
                  <c:v>0.1223812203533602</c:v>
                </c:pt>
                <c:pt idx="140">
                  <c:v>0.13642866758918351</c:v>
                </c:pt>
                <c:pt idx="141">
                  <c:v>0.13920252476827891</c:v>
                </c:pt>
                <c:pt idx="142">
                  <c:v>0.1339475014165927</c:v>
                </c:pt>
                <c:pt idx="143">
                  <c:v>0.13401738104107291</c:v>
                </c:pt>
                <c:pt idx="144">
                  <c:v>0.15547578773274751</c:v>
                </c:pt>
                <c:pt idx="145">
                  <c:v>0.1671753882757856</c:v>
                </c:pt>
                <c:pt idx="146">
                  <c:v>0.15186709914009169</c:v>
                </c:pt>
                <c:pt idx="147">
                  <c:v>0.1466707160527867</c:v>
                </c:pt>
                <c:pt idx="148">
                  <c:v>0.12167193471644119</c:v>
                </c:pt>
                <c:pt idx="149">
                  <c:v>0.1322440099222367</c:v>
                </c:pt>
                <c:pt idx="150">
                  <c:v>0.1384991526614488</c:v>
                </c:pt>
                <c:pt idx="151">
                  <c:v>0.12792204677335911</c:v>
                </c:pt>
                <c:pt idx="152">
                  <c:v>0.13892861330025319</c:v>
                </c:pt>
                <c:pt idx="153">
                  <c:v>0.1572056713132069</c:v>
                </c:pt>
                <c:pt idx="154">
                  <c:v>0.12375687331166151</c:v>
                </c:pt>
                <c:pt idx="155">
                  <c:v>0.12393060987621859</c:v>
                </c:pt>
                <c:pt idx="156">
                  <c:v>0.1481220189999399</c:v>
                </c:pt>
                <c:pt idx="157">
                  <c:v>0.15080316173137701</c:v>
                </c:pt>
                <c:pt idx="158">
                  <c:v>0.13163585098147609</c:v>
                </c:pt>
                <c:pt idx="159">
                  <c:v>0.17518068914064491</c:v>
                </c:pt>
                <c:pt idx="160">
                  <c:v>0.14430658018421791</c:v>
                </c:pt>
                <c:pt idx="161">
                  <c:v>0.1477132319346918</c:v>
                </c:pt>
                <c:pt idx="162">
                  <c:v>0.1468547923506304</c:v>
                </c:pt>
                <c:pt idx="163">
                  <c:v>0.14407392135668631</c:v>
                </c:pt>
                <c:pt idx="164">
                  <c:v>0.14806546429825829</c:v>
                </c:pt>
                <c:pt idx="165">
                  <c:v>0.1472745967091286</c:v>
                </c:pt>
                <c:pt idx="166">
                  <c:v>0.1484317818687631</c:v>
                </c:pt>
                <c:pt idx="167">
                  <c:v>0.14371237025954259</c:v>
                </c:pt>
                <c:pt idx="168">
                  <c:v>0.16388617449378681</c:v>
                </c:pt>
                <c:pt idx="169">
                  <c:v>0.16029832164343999</c:v>
                </c:pt>
                <c:pt idx="170">
                  <c:v>0.15808590984120491</c:v>
                </c:pt>
                <c:pt idx="171">
                  <c:v>0.1431805517869282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1283</c:v>
                </c:pt>
                <c:pt idx="1">
                  <c:v>1283</c:v>
                </c:pt>
                <c:pt idx="2">
                  <c:v>1283</c:v>
                </c:pt>
                <c:pt idx="3">
                  <c:v>1283</c:v>
                </c:pt>
                <c:pt idx="4">
                  <c:v>1315</c:v>
                </c:pt>
                <c:pt idx="5">
                  <c:v>1112</c:v>
                </c:pt>
                <c:pt idx="6">
                  <c:v>1135</c:v>
                </c:pt>
                <c:pt idx="7">
                  <c:v>1098</c:v>
                </c:pt>
                <c:pt idx="8">
                  <c:v>989</c:v>
                </c:pt>
                <c:pt idx="9">
                  <c:v>1221</c:v>
                </c:pt>
                <c:pt idx="10">
                  <c:v>1194</c:v>
                </c:pt>
                <c:pt idx="11">
                  <c:v>1222</c:v>
                </c:pt>
                <c:pt idx="12">
                  <c:v>870</c:v>
                </c:pt>
                <c:pt idx="13">
                  <c:v>767</c:v>
                </c:pt>
                <c:pt idx="14">
                  <c:v>974</c:v>
                </c:pt>
                <c:pt idx="15">
                  <c:v>1214</c:v>
                </c:pt>
                <c:pt idx="16">
                  <c:v>939</c:v>
                </c:pt>
                <c:pt idx="17">
                  <c:v>1242</c:v>
                </c:pt>
                <c:pt idx="18">
                  <c:v>1004</c:v>
                </c:pt>
                <c:pt idx="19">
                  <c:v>1254</c:v>
                </c:pt>
                <c:pt idx="20">
                  <c:v>858</c:v>
                </c:pt>
                <c:pt idx="21">
                  <c:v>864</c:v>
                </c:pt>
                <c:pt idx="22">
                  <c:v>1531</c:v>
                </c:pt>
                <c:pt idx="23">
                  <c:v>1435</c:v>
                </c:pt>
                <c:pt idx="24">
                  <c:v>1328</c:v>
                </c:pt>
                <c:pt idx="25">
                  <c:v>1355</c:v>
                </c:pt>
                <c:pt idx="26">
                  <c:v>712</c:v>
                </c:pt>
                <c:pt idx="27">
                  <c:v>658</c:v>
                </c:pt>
                <c:pt idx="28">
                  <c:v>513</c:v>
                </c:pt>
                <c:pt idx="29">
                  <c:v>865</c:v>
                </c:pt>
                <c:pt idx="30">
                  <c:v>723</c:v>
                </c:pt>
                <c:pt idx="31">
                  <c:v>831</c:v>
                </c:pt>
                <c:pt idx="32">
                  <c:v>709</c:v>
                </c:pt>
                <c:pt idx="33">
                  <c:v>752</c:v>
                </c:pt>
                <c:pt idx="34">
                  <c:v>815</c:v>
                </c:pt>
                <c:pt idx="35">
                  <c:v>972</c:v>
                </c:pt>
                <c:pt idx="36">
                  <c:v>641</c:v>
                </c:pt>
                <c:pt idx="37">
                  <c:v>543</c:v>
                </c:pt>
                <c:pt idx="38">
                  <c:v>437</c:v>
                </c:pt>
                <c:pt idx="39">
                  <c:v>673</c:v>
                </c:pt>
                <c:pt idx="40">
                  <c:v>601</c:v>
                </c:pt>
                <c:pt idx="41">
                  <c:v>889</c:v>
                </c:pt>
                <c:pt idx="42">
                  <c:v>813</c:v>
                </c:pt>
                <c:pt idx="43">
                  <c:v>898</c:v>
                </c:pt>
                <c:pt idx="44">
                  <c:v>787</c:v>
                </c:pt>
                <c:pt idx="45">
                  <c:v>1033</c:v>
                </c:pt>
                <c:pt idx="46">
                  <c:v>773</c:v>
                </c:pt>
                <c:pt idx="47">
                  <c:v>957</c:v>
                </c:pt>
                <c:pt idx="48">
                  <c:v>782</c:v>
                </c:pt>
                <c:pt idx="49">
                  <c:v>927</c:v>
                </c:pt>
                <c:pt idx="50">
                  <c:v>680</c:v>
                </c:pt>
                <c:pt idx="51">
                  <c:v>836</c:v>
                </c:pt>
                <c:pt idx="52">
                  <c:v>773</c:v>
                </c:pt>
                <c:pt idx="53">
                  <c:v>770</c:v>
                </c:pt>
                <c:pt idx="54">
                  <c:v>821</c:v>
                </c:pt>
                <c:pt idx="55">
                  <c:v>1025</c:v>
                </c:pt>
                <c:pt idx="56">
                  <c:v>719</c:v>
                </c:pt>
                <c:pt idx="57">
                  <c:v>719</c:v>
                </c:pt>
                <c:pt idx="58">
                  <c:v>696</c:v>
                </c:pt>
                <c:pt idx="59">
                  <c:v>800</c:v>
                </c:pt>
                <c:pt idx="60">
                  <c:v>587</c:v>
                </c:pt>
                <c:pt idx="61">
                  <c:v>536</c:v>
                </c:pt>
                <c:pt idx="62">
                  <c:v>788</c:v>
                </c:pt>
                <c:pt idx="63">
                  <c:v>879</c:v>
                </c:pt>
                <c:pt idx="64">
                  <c:v>943</c:v>
                </c:pt>
                <c:pt idx="65">
                  <c:v>842</c:v>
                </c:pt>
                <c:pt idx="66">
                  <c:v>1028</c:v>
                </c:pt>
                <c:pt idx="67">
                  <c:v>875</c:v>
                </c:pt>
                <c:pt idx="68">
                  <c:v>736</c:v>
                </c:pt>
                <c:pt idx="69">
                  <c:v>625</c:v>
                </c:pt>
                <c:pt idx="70">
                  <c:v>875</c:v>
                </c:pt>
                <c:pt idx="71">
                  <c:v>819</c:v>
                </c:pt>
                <c:pt idx="72">
                  <c:v>898</c:v>
                </c:pt>
                <c:pt idx="73">
                  <c:v>653</c:v>
                </c:pt>
                <c:pt idx="74">
                  <c:v>635</c:v>
                </c:pt>
                <c:pt idx="75">
                  <c:v>582</c:v>
                </c:pt>
                <c:pt idx="76">
                  <c:v>800</c:v>
                </c:pt>
                <c:pt idx="77">
                  <c:v>693</c:v>
                </c:pt>
                <c:pt idx="78">
                  <c:v>989</c:v>
                </c:pt>
                <c:pt idx="79">
                  <c:v>676</c:v>
                </c:pt>
                <c:pt idx="80">
                  <c:v>684</c:v>
                </c:pt>
                <c:pt idx="81">
                  <c:v>538</c:v>
                </c:pt>
                <c:pt idx="82">
                  <c:v>704</c:v>
                </c:pt>
                <c:pt idx="83">
                  <c:v>358</c:v>
                </c:pt>
                <c:pt idx="84">
                  <c:v>375</c:v>
                </c:pt>
                <c:pt idx="85">
                  <c:v>380</c:v>
                </c:pt>
                <c:pt idx="86">
                  <c:v>719</c:v>
                </c:pt>
                <c:pt idx="87">
                  <c:v>747</c:v>
                </c:pt>
                <c:pt idx="88">
                  <c:v>757</c:v>
                </c:pt>
                <c:pt idx="89">
                  <c:v>442</c:v>
                </c:pt>
                <c:pt idx="90">
                  <c:v>355</c:v>
                </c:pt>
                <c:pt idx="91">
                  <c:v>411</c:v>
                </c:pt>
                <c:pt idx="92">
                  <c:v>712</c:v>
                </c:pt>
                <c:pt idx="93">
                  <c:v>697</c:v>
                </c:pt>
                <c:pt idx="94">
                  <c:v>851</c:v>
                </c:pt>
                <c:pt idx="95">
                  <c:v>609</c:v>
                </c:pt>
                <c:pt idx="96">
                  <c:v>523</c:v>
                </c:pt>
                <c:pt idx="97">
                  <c:v>1860</c:v>
                </c:pt>
                <c:pt idx="98">
                  <c:v>796</c:v>
                </c:pt>
                <c:pt idx="99">
                  <c:v>826</c:v>
                </c:pt>
                <c:pt idx="100">
                  <c:v>960</c:v>
                </c:pt>
                <c:pt idx="101">
                  <c:v>702</c:v>
                </c:pt>
                <c:pt idx="102">
                  <c:v>500</c:v>
                </c:pt>
                <c:pt idx="103">
                  <c:v>355</c:v>
                </c:pt>
              </c:numCache>
            </c:numRef>
          </c:val>
          <c:extLst>
            <c:ext xmlns:c16="http://schemas.microsoft.com/office/drawing/2014/chart" uri="{C3380CC4-5D6E-409C-BE32-E72D297353CC}">
              <c16:uniqueId val="{00000000-72A7-4D08-96D7-E73109FBDC9A}"/>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992</c:v>
                </c:pt>
                <c:pt idx="1">
                  <c:v>992</c:v>
                </c:pt>
                <c:pt idx="2">
                  <c:v>992</c:v>
                </c:pt>
                <c:pt idx="3">
                  <c:v>992</c:v>
                </c:pt>
                <c:pt idx="4">
                  <c:v>666</c:v>
                </c:pt>
                <c:pt idx="5">
                  <c:v>2247</c:v>
                </c:pt>
                <c:pt idx="6">
                  <c:v>867</c:v>
                </c:pt>
                <c:pt idx="7">
                  <c:v>62</c:v>
                </c:pt>
                <c:pt idx="8">
                  <c:v>585</c:v>
                </c:pt>
                <c:pt idx="9">
                  <c:v>989</c:v>
                </c:pt>
                <c:pt idx="10">
                  <c:v>670</c:v>
                </c:pt>
                <c:pt idx="11">
                  <c:v>453</c:v>
                </c:pt>
                <c:pt idx="12">
                  <c:v>2527</c:v>
                </c:pt>
                <c:pt idx="13">
                  <c:v>3217</c:v>
                </c:pt>
                <c:pt idx="14">
                  <c:v>1437</c:v>
                </c:pt>
                <c:pt idx="15">
                  <c:v>414</c:v>
                </c:pt>
                <c:pt idx="16">
                  <c:v>1160</c:v>
                </c:pt>
                <c:pt idx="17">
                  <c:v>1335</c:v>
                </c:pt>
                <c:pt idx="18">
                  <c:v>1243</c:v>
                </c:pt>
                <c:pt idx="19">
                  <c:v>911</c:v>
                </c:pt>
                <c:pt idx="20">
                  <c:v>2352</c:v>
                </c:pt>
                <c:pt idx="21">
                  <c:v>2064</c:v>
                </c:pt>
                <c:pt idx="22">
                  <c:v>243</c:v>
                </c:pt>
                <c:pt idx="23">
                  <c:v>155</c:v>
                </c:pt>
                <c:pt idx="24">
                  <c:v>114</c:v>
                </c:pt>
                <c:pt idx="25">
                  <c:v>92</c:v>
                </c:pt>
                <c:pt idx="26">
                  <c:v>1325</c:v>
                </c:pt>
                <c:pt idx="27">
                  <c:v>1896</c:v>
                </c:pt>
                <c:pt idx="28">
                  <c:v>1683</c:v>
                </c:pt>
                <c:pt idx="29">
                  <c:v>1193</c:v>
                </c:pt>
                <c:pt idx="30">
                  <c:v>1037</c:v>
                </c:pt>
                <c:pt idx="31">
                  <c:v>805</c:v>
                </c:pt>
                <c:pt idx="32">
                  <c:v>685</c:v>
                </c:pt>
                <c:pt idx="33">
                  <c:v>502</c:v>
                </c:pt>
                <c:pt idx="34">
                  <c:v>350</c:v>
                </c:pt>
                <c:pt idx="35">
                  <c:v>76</c:v>
                </c:pt>
                <c:pt idx="36">
                  <c:v>1157</c:v>
                </c:pt>
                <c:pt idx="37">
                  <c:v>1474</c:v>
                </c:pt>
                <c:pt idx="38">
                  <c:v>1010</c:v>
                </c:pt>
                <c:pt idx="39">
                  <c:v>501</c:v>
                </c:pt>
                <c:pt idx="40">
                  <c:v>291</c:v>
                </c:pt>
                <c:pt idx="41">
                  <c:v>46</c:v>
                </c:pt>
                <c:pt idx="42">
                  <c:v>722</c:v>
                </c:pt>
                <c:pt idx="43">
                  <c:v>1060</c:v>
                </c:pt>
                <c:pt idx="44">
                  <c:v>1018</c:v>
                </c:pt>
                <c:pt idx="45">
                  <c:v>802</c:v>
                </c:pt>
                <c:pt idx="46">
                  <c:v>1358</c:v>
                </c:pt>
                <c:pt idx="47">
                  <c:v>1373</c:v>
                </c:pt>
                <c:pt idx="48">
                  <c:v>1918</c:v>
                </c:pt>
                <c:pt idx="49">
                  <c:v>1832</c:v>
                </c:pt>
                <c:pt idx="50">
                  <c:v>1159</c:v>
                </c:pt>
                <c:pt idx="51">
                  <c:v>653</c:v>
                </c:pt>
                <c:pt idx="52">
                  <c:v>1187</c:v>
                </c:pt>
                <c:pt idx="53">
                  <c:v>1285</c:v>
                </c:pt>
                <c:pt idx="54">
                  <c:v>715</c:v>
                </c:pt>
                <c:pt idx="55">
                  <c:v>208</c:v>
                </c:pt>
                <c:pt idx="56">
                  <c:v>885</c:v>
                </c:pt>
                <c:pt idx="57">
                  <c:v>1161</c:v>
                </c:pt>
                <c:pt idx="58">
                  <c:v>649</c:v>
                </c:pt>
                <c:pt idx="59">
                  <c:v>94</c:v>
                </c:pt>
                <c:pt idx="60">
                  <c:v>943</c:v>
                </c:pt>
                <c:pt idx="61">
                  <c:v>1692</c:v>
                </c:pt>
                <c:pt idx="62">
                  <c:v>1518</c:v>
                </c:pt>
                <c:pt idx="63">
                  <c:v>759</c:v>
                </c:pt>
                <c:pt idx="64">
                  <c:v>380</c:v>
                </c:pt>
                <c:pt idx="65">
                  <c:v>499</c:v>
                </c:pt>
                <c:pt idx="66">
                  <c:v>152</c:v>
                </c:pt>
                <c:pt idx="67">
                  <c:v>736</c:v>
                </c:pt>
                <c:pt idx="68">
                  <c:v>1205</c:v>
                </c:pt>
                <c:pt idx="69">
                  <c:v>1468</c:v>
                </c:pt>
                <c:pt idx="70">
                  <c:v>1203</c:v>
                </c:pt>
                <c:pt idx="71">
                  <c:v>570</c:v>
                </c:pt>
                <c:pt idx="72">
                  <c:v>225</c:v>
                </c:pt>
                <c:pt idx="73">
                  <c:v>1740</c:v>
                </c:pt>
                <c:pt idx="74">
                  <c:v>1865</c:v>
                </c:pt>
                <c:pt idx="75">
                  <c:v>1445</c:v>
                </c:pt>
                <c:pt idx="76">
                  <c:v>873</c:v>
                </c:pt>
                <c:pt idx="77">
                  <c:v>1230</c:v>
                </c:pt>
                <c:pt idx="78">
                  <c:v>146</c:v>
                </c:pt>
                <c:pt idx="79">
                  <c:v>791</c:v>
                </c:pt>
                <c:pt idx="80">
                  <c:v>963</c:v>
                </c:pt>
                <c:pt idx="81">
                  <c:v>1044</c:v>
                </c:pt>
                <c:pt idx="82">
                  <c:v>872</c:v>
                </c:pt>
                <c:pt idx="83">
                  <c:v>1756</c:v>
                </c:pt>
                <c:pt idx="84">
                  <c:v>2000</c:v>
                </c:pt>
                <c:pt idx="85">
                  <c:v>1175</c:v>
                </c:pt>
                <c:pt idx="86">
                  <c:v>423</c:v>
                </c:pt>
                <c:pt idx="87">
                  <c:v>240</c:v>
                </c:pt>
                <c:pt idx="88">
                  <c:v>115</c:v>
                </c:pt>
                <c:pt idx="89">
                  <c:v>703</c:v>
                </c:pt>
                <c:pt idx="90">
                  <c:v>922</c:v>
                </c:pt>
                <c:pt idx="91">
                  <c:v>562</c:v>
                </c:pt>
                <c:pt idx="92">
                  <c:v>90</c:v>
                </c:pt>
                <c:pt idx="93">
                  <c:v>68</c:v>
                </c:pt>
                <c:pt idx="94">
                  <c:v>51</c:v>
                </c:pt>
                <c:pt idx="95">
                  <c:v>1690</c:v>
                </c:pt>
                <c:pt idx="96">
                  <c:v>2348</c:v>
                </c:pt>
                <c:pt idx="97">
                  <c:v>255</c:v>
                </c:pt>
                <c:pt idx="98">
                  <c:v>1024</c:v>
                </c:pt>
                <c:pt idx="99">
                  <c:v>466</c:v>
                </c:pt>
                <c:pt idx="100">
                  <c:v>43</c:v>
                </c:pt>
                <c:pt idx="101">
                  <c:v>831</c:v>
                </c:pt>
                <c:pt idx="102">
                  <c:v>1304</c:v>
                </c:pt>
                <c:pt idx="103">
                  <c:v>1284</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vert="horz" wrap="square" anchor="ctr" anchorCtr="1"/>
          <a:lstStyle/>
          <a:p>
            <a:pPr>
              <a:defRPr sz="6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1"/>
      <c:txPr>
        <a:bodyPr/>
        <a:lstStyle/>
        <a:p>
          <a:pPr>
            <a:defRPr sz="800">
              <a:latin typeface="Nexa Book"/>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219792786125353E-2"/>
          <c:y val="0.22555108645669017"/>
          <c:w val="0.96766497516299987"/>
          <c:h val="0.76466540290122786"/>
        </c:manualLayout>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2478</c:v>
                </c:pt>
                <c:pt idx="1">
                  <c:v>2478</c:v>
                </c:pt>
                <c:pt idx="2">
                  <c:v>2478</c:v>
                </c:pt>
                <c:pt idx="3">
                  <c:v>2478</c:v>
                </c:pt>
                <c:pt idx="4">
                  <c:v>2368</c:v>
                </c:pt>
                <c:pt idx="5">
                  <c:v>2000</c:v>
                </c:pt>
                <c:pt idx="6">
                  <c:v>2062</c:v>
                </c:pt>
                <c:pt idx="7">
                  <c:v>1695</c:v>
                </c:pt>
                <c:pt idx="8">
                  <c:v>2342</c:v>
                </c:pt>
                <c:pt idx="9">
                  <c:v>2167</c:v>
                </c:pt>
                <c:pt idx="10">
                  <c:v>1912</c:v>
                </c:pt>
                <c:pt idx="11">
                  <c:v>2228</c:v>
                </c:pt>
                <c:pt idx="12">
                  <c:v>2262</c:v>
                </c:pt>
                <c:pt idx="13">
                  <c:v>2672</c:v>
                </c:pt>
                <c:pt idx="14">
                  <c:v>1171</c:v>
                </c:pt>
                <c:pt idx="15">
                  <c:v>1025</c:v>
                </c:pt>
                <c:pt idx="16">
                  <c:v>1176</c:v>
                </c:pt>
                <c:pt idx="17">
                  <c:v>3347</c:v>
                </c:pt>
                <c:pt idx="18">
                  <c:v>5213</c:v>
                </c:pt>
                <c:pt idx="19">
                  <c:v>3988</c:v>
                </c:pt>
                <c:pt idx="20">
                  <c:v>2546</c:v>
                </c:pt>
                <c:pt idx="21">
                  <c:v>2440</c:v>
                </c:pt>
                <c:pt idx="22">
                  <c:v>1616</c:v>
                </c:pt>
                <c:pt idx="23">
                  <c:v>1790</c:v>
                </c:pt>
                <c:pt idx="24">
                  <c:v>1917</c:v>
                </c:pt>
                <c:pt idx="25">
                  <c:v>2749</c:v>
                </c:pt>
                <c:pt idx="26">
                  <c:v>2211</c:v>
                </c:pt>
                <c:pt idx="27">
                  <c:v>2044</c:v>
                </c:pt>
                <c:pt idx="28">
                  <c:v>2232</c:v>
                </c:pt>
                <c:pt idx="29">
                  <c:v>2490</c:v>
                </c:pt>
                <c:pt idx="30">
                  <c:v>1979</c:v>
                </c:pt>
                <c:pt idx="31">
                  <c:v>2482</c:v>
                </c:pt>
                <c:pt idx="32">
                  <c:v>1949</c:v>
                </c:pt>
                <c:pt idx="33">
                  <c:v>1205</c:v>
                </c:pt>
                <c:pt idx="34">
                  <c:v>1466</c:v>
                </c:pt>
                <c:pt idx="35">
                  <c:v>1873</c:v>
                </c:pt>
                <c:pt idx="36">
                  <c:v>945</c:v>
                </c:pt>
                <c:pt idx="37">
                  <c:v>593</c:v>
                </c:pt>
                <c:pt idx="38">
                  <c:v>702</c:v>
                </c:pt>
                <c:pt idx="39">
                  <c:v>1690</c:v>
                </c:pt>
                <c:pt idx="40">
                  <c:v>1130</c:v>
                </c:pt>
                <c:pt idx="41">
                  <c:v>1307</c:v>
                </c:pt>
                <c:pt idx="42">
                  <c:v>3320</c:v>
                </c:pt>
                <c:pt idx="43">
                  <c:v>4953</c:v>
                </c:pt>
                <c:pt idx="44">
                  <c:v>1844</c:v>
                </c:pt>
                <c:pt idx="45">
                  <c:v>1679</c:v>
                </c:pt>
                <c:pt idx="46">
                  <c:v>2514</c:v>
                </c:pt>
                <c:pt idx="47">
                  <c:v>1407</c:v>
                </c:pt>
                <c:pt idx="48">
                  <c:v>1449</c:v>
                </c:pt>
                <c:pt idx="49">
                  <c:v>2514</c:v>
                </c:pt>
                <c:pt idx="50">
                  <c:v>1311</c:v>
                </c:pt>
                <c:pt idx="51">
                  <c:v>1514</c:v>
                </c:pt>
                <c:pt idx="52">
                  <c:v>2288</c:v>
                </c:pt>
                <c:pt idx="53">
                  <c:v>1808</c:v>
                </c:pt>
                <c:pt idx="54">
                  <c:v>1719</c:v>
                </c:pt>
                <c:pt idx="55">
                  <c:v>2315</c:v>
                </c:pt>
                <c:pt idx="56">
                  <c:v>2433</c:v>
                </c:pt>
                <c:pt idx="57">
                  <c:v>2402</c:v>
                </c:pt>
                <c:pt idx="58">
                  <c:v>1912</c:v>
                </c:pt>
                <c:pt idx="59">
                  <c:v>1664</c:v>
                </c:pt>
                <c:pt idx="60">
                  <c:v>2185</c:v>
                </c:pt>
                <c:pt idx="61">
                  <c:v>2158</c:v>
                </c:pt>
                <c:pt idx="62">
                  <c:v>2155</c:v>
                </c:pt>
                <c:pt idx="63">
                  <c:v>2291</c:v>
                </c:pt>
                <c:pt idx="64">
                  <c:v>2452</c:v>
                </c:pt>
                <c:pt idx="65">
                  <c:v>2399</c:v>
                </c:pt>
                <c:pt idx="66">
                  <c:v>1807</c:v>
                </c:pt>
                <c:pt idx="67">
                  <c:v>1760</c:v>
                </c:pt>
                <c:pt idx="68">
                  <c:v>1361</c:v>
                </c:pt>
                <c:pt idx="69">
                  <c:v>1578</c:v>
                </c:pt>
                <c:pt idx="70">
                  <c:v>1971</c:v>
                </c:pt>
                <c:pt idx="71">
                  <c:v>1774</c:v>
                </c:pt>
                <c:pt idx="72">
                  <c:v>1724</c:v>
                </c:pt>
                <c:pt idx="73">
                  <c:v>1949</c:v>
                </c:pt>
                <c:pt idx="74">
                  <c:v>1957</c:v>
                </c:pt>
                <c:pt idx="75">
                  <c:v>1741</c:v>
                </c:pt>
                <c:pt idx="76">
                  <c:v>1219</c:v>
                </c:pt>
                <c:pt idx="77">
                  <c:v>1265</c:v>
                </c:pt>
                <c:pt idx="78">
                  <c:v>1072</c:v>
                </c:pt>
                <c:pt idx="79">
                  <c:v>1414</c:v>
                </c:pt>
                <c:pt idx="80">
                  <c:v>1146</c:v>
                </c:pt>
                <c:pt idx="81">
                  <c:v>942</c:v>
                </c:pt>
                <c:pt idx="82">
                  <c:v>1361</c:v>
                </c:pt>
                <c:pt idx="83">
                  <c:v>1520</c:v>
                </c:pt>
                <c:pt idx="84">
                  <c:v>1632</c:v>
                </c:pt>
                <c:pt idx="85">
                  <c:v>1510</c:v>
                </c:pt>
                <c:pt idx="86">
                  <c:v>1497</c:v>
                </c:pt>
                <c:pt idx="87">
                  <c:v>1432</c:v>
                </c:pt>
                <c:pt idx="88">
                  <c:v>718</c:v>
                </c:pt>
                <c:pt idx="89">
                  <c:v>665</c:v>
                </c:pt>
                <c:pt idx="90">
                  <c:v>732</c:v>
                </c:pt>
                <c:pt idx="91">
                  <c:v>1199</c:v>
                </c:pt>
                <c:pt idx="92">
                  <c:v>833</c:v>
                </c:pt>
                <c:pt idx="93">
                  <c:v>897</c:v>
                </c:pt>
                <c:pt idx="94">
                  <c:v>915</c:v>
                </c:pt>
                <c:pt idx="95">
                  <c:v>702</c:v>
                </c:pt>
                <c:pt idx="96">
                  <c:v>794</c:v>
                </c:pt>
                <c:pt idx="97">
                  <c:v>1337</c:v>
                </c:pt>
                <c:pt idx="98">
                  <c:v>1604</c:v>
                </c:pt>
                <c:pt idx="99">
                  <c:v>854</c:v>
                </c:pt>
                <c:pt idx="100">
                  <c:v>1836</c:v>
                </c:pt>
                <c:pt idx="101">
                  <c:v>2304</c:v>
                </c:pt>
                <c:pt idx="102">
                  <c:v>1807</c:v>
                </c:pt>
                <c:pt idx="103">
                  <c:v>1531</c:v>
                </c:pt>
              </c:numCache>
            </c:numRef>
          </c:val>
          <c:extLst>
            <c:ext xmlns:c16="http://schemas.microsoft.com/office/drawing/2014/chart" uri="{C3380CC4-5D6E-409C-BE32-E72D297353CC}">
              <c16:uniqueId val="{00000001-E3C4-46BC-AA3D-A3795B7CC7BA}"/>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2028</c:v>
                </c:pt>
                <c:pt idx="1">
                  <c:v>2028</c:v>
                </c:pt>
                <c:pt idx="2">
                  <c:v>2028</c:v>
                </c:pt>
                <c:pt idx="3">
                  <c:v>2028</c:v>
                </c:pt>
                <c:pt idx="4">
                  <c:v>2943</c:v>
                </c:pt>
                <c:pt idx="5">
                  <c:v>3084</c:v>
                </c:pt>
                <c:pt idx="6">
                  <c:v>2000</c:v>
                </c:pt>
                <c:pt idx="7">
                  <c:v>1256</c:v>
                </c:pt>
                <c:pt idx="8">
                  <c:v>412</c:v>
                </c:pt>
                <c:pt idx="9">
                  <c:v>2182</c:v>
                </c:pt>
                <c:pt idx="10">
                  <c:v>2978</c:v>
                </c:pt>
                <c:pt idx="11">
                  <c:v>1629</c:v>
                </c:pt>
                <c:pt idx="12">
                  <c:v>1001</c:v>
                </c:pt>
                <c:pt idx="13">
                  <c:v>378</c:v>
                </c:pt>
                <c:pt idx="14">
                  <c:v>9946</c:v>
                </c:pt>
                <c:pt idx="15">
                  <c:v>12137</c:v>
                </c:pt>
                <c:pt idx="16">
                  <c:v>6138</c:v>
                </c:pt>
                <c:pt idx="17">
                  <c:v>573</c:v>
                </c:pt>
                <c:pt idx="18">
                  <c:v>1911</c:v>
                </c:pt>
                <c:pt idx="19">
                  <c:v>1572</c:v>
                </c:pt>
                <c:pt idx="20">
                  <c:v>1318</c:v>
                </c:pt>
                <c:pt idx="21">
                  <c:v>1474</c:v>
                </c:pt>
                <c:pt idx="22">
                  <c:v>3060</c:v>
                </c:pt>
                <c:pt idx="23">
                  <c:v>2616</c:v>
                </c:pt>
                <c:pt idx="24">
                  <c:v>1361</c:v>
                </c:pt>
                <c:pt idx="25">
                  <c:v>180</c:v>
                </c:pt>
                <c:pt idx="26">
                  <c:v>1706</c:v>
                </c:pt>
                <c:pt idx="27">
                  <c:v>2097</c:v>
                </c:pt>
                <c:pt idx="28">
                  <c:v>4730</c:v>
                </c:pt>
                <c:pt idx="29">
                  <c:v>5465</c:v>
                </c:pt>
                <c:pt idx="30">
                  <c:v>2221</c:v>
                </c:pt>
                <c:pt idx="31">
                  <c:v>182</c:v>
                </c:pt>
                <c:pt idx="32">
                  <c:v>1305</c:v>
                </c:pt>
                <c:pt idx="33">
                  <c:v>2192</c:v>
                </c:pt>
                <c:pt idx="34">
                  <c:v>1632</c:v>
                </c:pt>
                <c:pt idx="35">
                  <c:v>765</c:v>
                </c:pt>
                <c:pt idx="36">
                  <c:v>3408</c:v>
                </c:pt>
                <c:pt idx="37">
                  <c:v>4140</c:v>
                </c:pt>
                <c:pt idx="38">
                  <c:v>2408</c:v>
                </c:pt>
                <c:pt idx="39">
                  <c:v>205</c:v>
                </c:pt>
                <c:pt idx="40">
                  <c:v>1437</c:v>
                </c:pt>
                <c:pt idx="41">
                  <c:v>2342</c:v>
                </c:pt>
                <c:pt idx="42">
                  <c:v>2397</c:v>
                </c:pt>
                <c:pt idx="43">
                  <c:v>1774</c:v>
                </c:pt>
                <c:pt idx="44">
                  <c:v>5172</c:v>
                </c:pt>
                <c:pt idx="45">
                  <c:v>2814</c:v>
                </c:pt>
                <c:pt idx="46">
                  <c:v>581</c:v>
                </c:pt>
                <c:pt idx="47">
                  <c:v>5403</c:v>
                </c:pt>
                <c:pt idx="48">
                  <c:v>3282</c:v>
                </c:pt>
                <c:pt idx="49">
                  <c:v>258</c:v>
                </c:pt>
                <c:pt idx="50">
                  <c:v>4291</c:v>
                </c:pt>
                <c:pt idx="51">
                  <c:v>2578</c:v>
                </c:pt>
                <c:pt idx="52">
                  <c:v>341</c:v>
                </c:pt>
                <c:pt idx="53">
                  <c:v>2465</c:v>
                </c:pt>
                <c:pt idx="54">
                  <c:v>1096</c:v>
                </c:pt>
                <c:pt idx="55">
                  <c:v>246</c:v>
                </c:pt>
                <c:pt idx="56">
                  <c:v>175</c:v>
                </c:pt>
                <c:pt idx="57">
                  <c:v>147</c:v>
                </c:pt>
                <c:pt idx="58">
                  <c:v>1069</c:v>
                </c:pt>
                <c:pt idx="59">
                  <c:v>862</c:v>
                </c:pt>
                <c:pt idx="60">
                  <c:v>187</c:v>
                </c:pt>
                <c:pt idx="61">
                  <c:v>1513</c:v>
                </c:pt>
                <c:pt idx="62">
                  <c:v>2362</c:v>
                </c:pt>
                <c:pt idx="63">
                  <c:v>898</c:v>
                </c:pt>
                <c:pt idx="64">
                  <c:v>431</c:v>
                </c:pt>
                <c:pt idx="65">
                  <c:v>60</c:v>
                </c:pt>
                <c:pt idx="66">
                  <c:v>3535</c:v>
                </c:pt>
                <c:pt idx="67">
                  <c:v>4094</c:v>
                </c:pt>
                <c:pt idx="68">
                  <c:v>4133</c:v>
                </c:pt>
                <c:pt idx="69">
                  <c:v>3639</c:v>
                </c:pt>
                <c:pt idx="70">
                  <c:v>5408</c:v>
                </c:pt>
                <c:pt idx="71">
                  <c:v>3501</c:v>
                </c:pt>
                <c:pt idx="72">
                  <c:v>1232</c:v>
                </c:pt>
                <c:pt idx="73">
                  <c:v>1018</c:v>
                </c:pt>
                <c:pt idx="74">
                  <c:v>156</c:v>
                </c:pt>
                <c:pt idx="75">
                  <c:v>135</c:v>
                </c:pt>
                <c:pt idx="76">
                  <c:v>3172</c:v>
                </c:pt>
                <c:pt idx="77">
                  <c:v>3215</c:v>
                </c:pt>
                <c:pt idx="78">
                  <c:v>2768</c:v>
                </c:pt>
                <c:pt idx="79">
                  <c:v>1343</c:v>
                </c:pt>
                <c:pt idx="80">
                  <c:v>1481</c:v>
                </c:pt>
                <c:pt idx="81">
                  <c:v>2332</c:v>
                </c:pt>
                <c:pt idx="82">
                  <c:v>2313</c:v>
                </c:pt>
                <c:pt idx="83">
                  <c:v>432</c:v>
                </c:pt>
                <c:pt idx="84">
                  <c:v>57</c:v>
                </c:pt>
                <c:pt idx="85">
                  <c:v>51</c:v>
                </c:pt>
                <c:pt idx="86">
                  <c:v>265</c:v>
                </c:pt>
                <c:pt idx="87">
                  <c:v>406</c:v>
                </c:pt>
                <c:pt idx="88">
                  <c:v>2365</c:v>
                </c:pt>
                <c:pt idx="89">
                  <c:v>3110</c:v>
                </c:pt>
                <c:pt idx="90">
                  <c:v>1479</c:v>
                </c:pt>
                <c:pt idx="91">
                  <c:v>191</c:v>
                </c:pt>
                <c:pt idx="92">
                  <c:v>1302</c:v>
                </c:pt>
                <c:pt idx="93">
                  <c:v>1871</c:v>
                </c:pt>
                <c:pt idx="94">
                  <c:v>1555</c:v>
                </c:pt>
                <c:pt idx="95">
                  <c:v>6364</c:v>
                </c:pt>
                <c:pt idx="96">
                  <c:v>8770</c:v>
                </c:pt>
                <c:pt idx="97">
                  <c:v>1132</c:v>
                </c:pt>
                <c:pt idx="98">
                  <c:v>710</c:v>
                </c:pt>
                <c:pt idx="99">
                  <c:v>4715</c:v>
                </c:pt>
                <c:pt idx="100">
                  <c:v>3239</c:v>
                </c:pt>
                <c:pt idx="101">
                  <c:v>1751</c:v>
                </c:pt>
                <c:pt idx="102">
                  <c:v>342</c:v>
                </c:pt>
                <c:pt idx="103">
                  <c:v>209</c:v>
                </c:pt>
              </c:numCache>
            </c:numRef>
          </c:val>
          <c:extLst>
            <c:ext xmlns:c16="http://schemas.microsoft.com/office/drawing/2014/chart" uri="{C3380CC4-5D6E-409C-BE32-E72D297353CC}">
              <c16:uniqueId val="{00000000-E3C4-46BC-AA3D-A3795B7CC7B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d/yyyy"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1283</c:v>
                </c:pt>
                <c:pt idx="1">
                  <c:v>1283</c:v>
                </c:pt>
                <c:pt idx="2">
                  <c:v>1283</c:v>
                </c:pt>
                <c:pt idx="3">
                  <c:v>1283</c:v>
                </c:pt>
                <c:pt idx="4">
                  <c:v>1315</c:v>
                </c:pt>
                <c:pt idx="5">
                  <c:v>1112</c:v>
                </c:pt>
                <c:pt idx="6">
                  <c:v>1135</c:v>
                </c:pt>
                <c:pt idx="7">
                  <c:v>1098</c:v>
                </c:pt>
                <c:pt idx="8">
                  <c:v>989</c:v>
                </c:pt>
                <c:pt idx="9">
                  <c:v>1221</c:v>
                </c:pt>
                <c:pt idx="10">
                  <c:v>1194</c:v>
                </c:pt>
                <c:pt idx="11">
                  <c:v>1222</c:v>
                </c:pt>
                <c:pt idx="12">
                  <c:v>870</c:v>
                </c:pt>
                <c:pt idx="13">
                  <c:v>767</c:v>
                </c:pt>
                <c:pt idx="14">
                  <c:v>974</c:v>
                </c:pt>
                <c:pt idx="15">
                  <c:v>1214</c:v>
                </c:pt>
                <c:pt idx="16">
                  <c:v>939</c:v>
                </c:pt>
                <c:pt idx="17">
                  <c:v>1242</c:v>
                </c:pt>
                <c:pt idx="18">
                  <c:v>1004</c:v>
                </c:pt>
                <c:pt idx="19">
                  <c:v>1254</c:v>
                </c:pt>
                <c:pt idx="20">
                  <c:v>858</c:v>
                </c:pt>
                <c:pt idx="21">
                  <c:v>864</c:v>
                </c:pt>
                <c:pt idx="22">
                  <c:v>1531</c:v>
                </c:pt>
                <c:pt idx="23">
                  <c:v>1435</c:v>
                </c:pt>
                <c:pt idx="24">
                  <c:v>1328</c:v>
                </c:pt>
                <c:pt idx="25">
                  <c:v>1355</c:v>
                </c:pt>
                <c:pt idx="26">
                  <c:v>712</c:v>
                </c:pt>
                <c:pt idx="27">
                  <c:v>658</c:v>
                </c:pt>
                <c:pt idx="28">
                  <c:v>513</c:v>
                </c:pt>
                <c:pt idx="29">
                  <c:v>865</c:v>
                </c:pt>
                <c:pt idx="30">
                  <c:v>723</c:v>
                </c:pt>
                <c:pt idx="31">
                  <c:v>831</c:v>
                </c:pt>
                <c:pt idx="32">
                  <c:v>709</c:v>
                </c:pt>
                <c:pt idx="33">
                  <c:v>752</c:v>
                </c:pt>
                <c:pt idx="34">
                  <c:v>815</c:v>
                </c:pt>
                <c:pt idx="35">
                  <c:v>972</c:v>
                </c:pt>
                <c:pt idx="36">
                  <c:v>641</c:v>
                </c:pt>
                <c:pt idx="37">
                  <c:v>543</c:v>
                </c:pt>
                <c:pt idx="38">
                  <c:v>437</c:v>
                </c:pt>
                <c:pt idx="39">
                  <c:v>673</c:v>
                </c:pt>
                <c:pt idx="40">
                  <c:v>601</c:v>
                </c:pt>
                <c:pt idx="41">
                  <c:v>889</c:v>
                </c:pt>
                <c:pt idx="42">
                  <c:v>813</c:v>
                </c:pt>
                <c:pt idx="43">
                  <c:v>898</c:v>
                </c:pt>
                <c:pt idx="44">
                  <c:v>787</c:v>
                </c:pt>
                <c:pt idx="45">
                  <c:v>1033</c:v>
                </c:pt>
                <c:pt idx="46">
                  <c:v>773</c:v>
                </c:pt>
                <c:pt idx="47">
                  <c:v>957</c:v>
                </c:pt>
                <c:pt idx="48">
                  <c:v>782</c:v>
                </c:pt>
                <c:pt idx="49">
                  <c:v>927</c:v>
                </c:pt>
                <c:pt idx="50">
                  <c:v>680</c:v>
                </c:pt>
                <c:pt idx="51">
                  <c:v>836</c:v>
                </c:pt>
                <c:pt idx="52">
                  <c:v>773</c:v>
                </c:pt>
                <c:pt idx="53">
                  <c:v>770</c:v>
                </c:pt>
                <c:pt idx="54">
                  <c:v>821</c:v>
                </c:pt>
                <c:pt idx="55">
                  <c:v>1025</c:v>
                </c:pt>
                <c:pt idx="56">
                  <c:v>719</c:v>
                </c:pt>
                <c:pt idx="57">
                  <c:v>719</c:v>
                </c:pt>
                <c:pt idx="58">
                  <c:v>696</c:v>
                </c:pt>
                <c:pt idx="59">
                  <c:v>800</c:v>
                </c:pt>
                <c:pt idx="60">
                  <c:v>587</c:v>
                </c:pt>
                <c:pt idx="61">
                  <c:v>536</c:v>
                </c:pt>
                <c:pt idx="62">
                  <c:v>788</c:v>
                </c:pt>
                <c:pt idx="63">
                  <c:v>879</c:v>
                </c:pt>
                <c:pt idx="64">
                  <c:v>943</c:v>
                </c:pt>
                <c:pt idx="65">
                  <c:v>842</c:v>
                </c:pt>
                <c:pt idx="66">
                  <c:v>1028</c:v>
                </c:pt>
                <c:pt idx="67">
                  <c:v>875</c:v>
                </c:pt>
                <c:pt idx="68">
                  <c:v>736</c:v>
                </c:pt>
                <c:pt idx="69">
                  <c:v>625</c:v>
                </c:pt>
                <c:pt idx="70">
                  <c:v>875</c:v>
                </c:pt>
                <c:pt idx="71">
                  <c:v>819</c:v>
                </c:pt>
                <c:pt idx="72">
                  <c:v>898</c:v>
                </c:pt>
                <c:pt idx="73">
                  <c:v>653</c:v>
                </c:pt>
                <c:pt idx="74">
                  <c:v>635</c:v>
                </c:pt>
                <c:pt idx="75">
                  <c:v>582</c:v>
                </c:pt>
                <c:pt idx="76">
                  <c:v>800</c:v>
                </c:pt>
                <c:pt idx="77">
                  <c:v>693</c:v>
                </c:pt>
                <c:pt idx="78">
                  <c:v>989</c:v>
                </c:pt>
                <c:pt idx="79">
                  <c:v>676</c:v>
                </c:pt>
                <c:pt idx="80">
                  <c:v>684</c:v>
                </c:pt>
                <c:pt idx="81">
                  <c:v>538</c:v>
                </c:pt>
                <c:pt idx="82">
                  <c:v>704</c:v>
                </c:pt>
                <c:pt idx="83">
                  <c:v>358</c:v>
                </c:pt>
                <c:pt idx="84">
                  <c:v>375</c:v>
                </c:pt>
                <c:pt idx="85">
                  <c:v>380</c:v>
                </c:pt>
                <c:pt idx="86">
                  <c:v>719</c:v>
                </c:pt>
                <c:pt idx="87">
                  <c:v>747</c:v>
                </c:pt>
                <c:pt idx="88">
                  <c:v>757</c:v>
                </c:pt>
                <c:pt idx="89">
                  <c:v>442</c:v>
                </c:pt>
                <c:pt idx="90">
                  <c:v>355</c:v>
                </c:pt>
                <c:pt idx="91">
                  <c:v>411</c:v>
                </c:pt>
                <c:pt idx="92">
                  <c:v>712</c:v>
                </c:pt>
                <c:pt idx="93">
                  <c:v>697</c:v>
                </c:pt>
                <c:pt idx="94">
                  <c:v>851</c:v>
                </c:pt>
                <c:pt idx="95">
                  <c:v>609</c:v>
                </c:pt>
                <c:pt idx="96">
                  <c:v>523</c:v>
                </c:pt>
                <c:pt idx="97">
                  <c:v>1860</c:v>
                </c:pt>
                <c:pt idx="98">
                  <c:v>796</c:v>
                </c:pt>
                <c:pt idx="99">
                  <c:v>826</c:v>
                </c:pt>
                <c:pt idx="100">
                  <c:v>960</c:v>
                </c:pt>
                <c:pt idx="101">
                  <c:v>702</c:v>
                </c:pt>
                <c:pt idx="102">
                  <c:v>500</c:v>
                </c:pt>
                <c:pt idx="103">
                  <c:v>355</c:v>
                </c:pt>
              </c:numCache>
            </c:numRef>
          </c:val>
          <c:extLst>
            <c:ext xmlns:c16="http://schemas.microsoft.com/office/drawing/2014/chart" uri="{C3380CC4-5D6E-409C-BE32-E72D297353CC}">
              <c16:uniqueId val="{00000000-72A7-4D08-96D7-E73109FBDC9A}"/>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992</c:v>
                </c:pt>
                <c:pt idx="1">
                  <c:v>992</c:v>
                </c:pt>
                <c:pt idx="2">
                  <c:v>992</c:v>
                </c:pt>
                <c:pt idx="3">
                  <c:v>992</c:v>
                </c:pt>
                <c:pt idx="4">
                  <c:v>666</c:v>
                </c:pt>
                <c:pt idx="5">
                  <c:v>2247</c:v>
                </c:pt>
                <c:pt idx="6">
                  <c:v>867</c:v>
                </c:pt>
                <c:pt idx="7">
                  <c:v>62</c:v>
                </c:pt>
                <c:pt idx="8">
                  <c:v>585</c:v>
                </c:pt>
                <c:pt idx="9">
                  <c:v>989</c:v>
                </c:pt>
                <c:pt idx="10">
                  <c:v>670</c:v>
                </c:pt>
                <c:pt idx="11">
                  <c:v>453</c:v>
                </c:pt>
                <c:pt idx="12">
                  <c:v>2527</c:v>
                </c:pt>
                <c:pt idx="13">
                  <c:v>3217</c:v>
                </c:pt>
                <c:pt idx="14">
                  <c:v>1437</c:v>
                </c:pt>
                <c:pt idx="15">
                  <c:v>414</c:v>
                </c:pt>
                <c:pt idx="16">
                  <c:v>1160</c:v>
                </c:pt>
                <c:pt idx="17">
                  <c:v>1335</c:v>
                </c:pt>
                <c:pt idx="18">
                  <c:v>1243</c:v>
                </c:pt>
                <c:pt idx="19">
                  <c:v>911</c:v>
                </c:pt>
                <c:pt idx="20">
                  <c:v>2352</c:v>
                </c:pt>
                <c:pt idx="21">
                  <c:v>2064</c:v>
                </c:pt>
                <c:pt idx="22">
                  <c:v>243</c:v>
                </c:pt>
                <c:pt idx="23">
                  <c:v>155</c:v>
                </c:pt>
                <c:pt idx="24">
                  <c:v>114</c:v>
                </c:pt>
                <c:pt idx="25">
                  <c:v>92</c:v>
                </c:pt>
                <c:pt idx="26">
                  <c:v>1325</c:v>
                </c:pt>
                <c:pt idx="27">
                  <c:v>1896</c:v>
                </c:pt>
                <c:pt idx="28">
                  <c:v>1683</c:v>
                </c:pt>
                <c:pt idx="29">
                  <c:v>1193</c:v>
                </c:pt>
                <c:pt idx="30">
                  <c:v>1037</c:v>
                </c:pt>
                <c:pt idx="31">
                  <c:v>805</c:v>
                </c:pt>
                <c:pt idx="32">
                  <c:v>685</c:v>
                </c:pt>
                <c:pt idx="33">
                  <c:v>502</c:v>
                </c:pt>
                <c:pt idx="34">
                  <c:v>350</c:v>
                </c:pt>
                <c:pt idx="35">
                  <c:v>76</c:v>
                </c:pt>
                <c:pt idx="36">
                  <c:v>1157</c:v>
                </c:pt>
                <c:pt idx="37">
                  <c:v>1474</c:v>
                </c:pt>
                <c:pt idx="38">
                  <c:v>1010</c:v>
                </c:pt>
                <c:pt idx="39">
                  <c:v>501</c:v>
                </c:pt>
                <c:pt idx="40">
                  <c:v>291</c:v>
                </c:pt>
                <c:pt idx="41">
                  <c:v>46</c:v>
                </c:pt>
                <c:pt idx="42">
                  <c:v>722</c:v>
                </c:pt>
                <c:pt idx="43">
                  <c:v>1060</c:v>
                </c:pt>
                <c:pt idx="44">
                  <c:v>1018</c:v>
                </c:pt>
                <c:pt idx="45">
                  <c:v>802</c:v>
                </c:pt>
                <c:pt idx="46">
                  <c:v>1358</c:v>
                </c:pt>
                <c:pt idx="47">
                  <c:v>1373</c:v>
                </c:pt>
                <c:pt idx="48">
                  <c:v>1918</c:v>
                </c:pt>
                <c:pt idx="49">
                  <c:v>1832</c:v>
                </c:pt>
                <c:pt idx="50">
                  <c:v>1159</c:v>
                </c:pt>
                <c:pt idx="51">
                  <c:v>653</c:v>
                </c:pt>
                <c:pt idx="52">
                  <c:v>1187</c:v>
                </c:pt>
                <c:pt idx="53">
                  <c:v>1285</c:v>
                </c:pt>
                <c:pt idx="54">
                  <c:v>715</c:v>
                </c:pt>
                <c:pt idx="55">
                  <c:v>208</c:v>
                </c:pt>
                <c:pt idx="56">
                  <c:v>885</c:v>
                </c:pt>
                <c:pt idx="57">
                  <c:v>1161</c:v>
                </c:pt>
                <c:pt idx="58">
                  <c:v>649</c:v>
                </c:pt>
                <c:pt idx="59">
                  <c:v>94</c:v>
                </c:pt>
                <c:pt idx="60">
                  <c:v>943</c:v>
                </c:pt>
                <c:pt idx="61">
                  <c:v>1692</c:v>
                </c:pt>
                <c:pt idx="62">
                  <c:v>1518</c:v>
                </c:pt>
                <c:pt idx="63">
                  <c:v>759</c:v>
                </c:pt>
                <c:pt idx="64">
                  <c:v>380</c:v>
                </c:pt>
                <c:pt idx="65">
                  <c:v>499</c:v>
                </c:pt>
                <c:pt idx="66">
                  <c:v>152</c:v>
                </c:pt>
                <c:pt idx="67">
                  <c:v>736</c:v>
                </c:pt>
                <c:pt idx="68">
                  <c:v>1205</c:v>
                </c:pt>
                <c:pt idx="69">
                  <c:v>1468</c:v>
                </c:pt>
                <c:pt idx="70">
                  <c:v>1203</c:v>
                </c:pt>
                <c:pt idx="71">
                  <c:v>570</c:v>
                </c:pt>
                <c:pt idx="72">
                  <c:v>225</c:v>
                </c:pt>
                <c:pt idx="73">
                  <c:v>1740</c:v>
                </c:pt>
                <c:pt idx="74">
                  <c:v>1865</c:v>
                </c:pt>
                <c:pt idx="75">
                  <c:v>1445</c:v>
                </c:pt>
                <c:pt idx="76">
                  <c:v>873</c:v>
                </c:pt>
                <c:pt idx="77">
                  <c:v>1230</c:v>
                </c:pt>
                <c:pt idx="78">
                  <c:v>146</c:v>
                </c:pt>
                <c:pt idx="79">
                  <c:v>791</c:v>
                </c:pt>
                <c:pt idx="80">
                  <c:v>963</c:v>
                </c:pt>
                <c:pt idx="81">
                  <c:v>1044</c:v>
                </c:pt>
                <c:pt idx="82">
                  <c:v>872</c:v>
                </c:pt>
                <c:pt idx="83">
                  <c:v>1756</c:v>
                </c:pt>
                <c:pt idx="84">
                  <c:v>2000</c:v>
                </c:pt>
                <c:pt idx="85">
                  <c:v>1175</c:v>
                </c:pt>
                <c:pt idx="86">
                  <c:v>423</c:v>
                </c:pt>
                <c:pt idx="87">
                  <c:v>240</c:v>
                </c:pt>
                <c:pt idx="88">
                  <c:v>115</c:v>
                </c:pt>
                <c:pt idx="89">
                  <c:v>703</c:v>
                </c:pt>
                <c:pt idx="90">
                  <c:v>922</c:v>
                </c:pt>
                <c:pt idx="91">
                  <c:v>562</c:v>
                </c:pt>
                <c:pt idx="92">
                  <c:v>90</c:v>
                </c:pt>
                <c:pt idx="93">
                  <c:v>68</c:v>
                </c:pt>
                <c:pt idx="94">
                  <c:v>51</c:v>
                </c:pt>
                <c:pt idx="95">
                  <c:v>1690</c:v>
                </c:pt>
                <c:pt idx="96">
                  <c:v>2348</c:v>
                </c:pt>
                <c:pt idx="97">
                  <c:v>255</c:v>
                </c:pt>
                <c:pt idx="98">
                  <c:v>1024</c:v>
                </c:pt>
                <c:pt idx="99">
                  <c:v>466</c:v>
                </c:pt>
                <c:pt idx="100">
                  <c:v>43</c:v>
                </c:pt>
                <c:pt idx="101">
                  <c:v>831</c:v>
                </c:pt>
                <c:pt idx="102">
                  <c:v>1304</c:v>
                </c:pt>
                <c:pt idx="103">
                  <c:v>1284</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6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838621105571207E-2"/>
          <c:y val="0.22640674019619741"/>
          <c:w val="0.96604631207450631"/>
          <c:h val="0.76380960518739549"/>
        </c:manualLayout>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2478</c:v>
                </c:pt>
                <c:pt idx="1">
                  <c:v>2478</c:v>
                </c:pt>
                <c:pt idx="2">
                  <c:v>2478</c:v>
                </c:pt>
                <c:pt idx="3">
                  <c:v>2478</c:v>
                </c:pt>
                <c:pt idx="4">
                  <c:v>2368</c:v>
                </c:pt>
                <c:pt idx="5">
                  <c:v>2000</c:v>
                </c:pt>
                <c:pt idx="6">
                  <c:v>2062</c:v>
                </c:pt>
                <c:pt idx="7">
                  <c:v>1695</c:v>
                </c:pt>
                <c:pt idx="8">
                  <c:v>2342</c:v>
                </c:pt>
                <c:pt idx="9">
                  <c:v>2167</c:v>
                </c:pt>
                <c:pt idx="10">
                  <c:v>1912</c:v>
                </c:pt>
                <c:pt idx="11">
                  <c:v>2228</c:v>
                </c:pt>
                <c:pt idx="12">
                  <c:v>2262</c:v>
                </c:pt>
                <c:pt idx="13">
                  <c:v>2672</c:v>
                </c:pt>
                <c:pt idx="14">
                  <c:v>1171</c:v>
                </c:pt>
                <c:pt idx="15">
                  <c:v>1025</c:v>
                </c:pt>
                <c:pt idx="16">
                  <c:v>1176</c:v>
                </c:pt>
                <c:pt idx="17">
                  <c:v>3347</c:v>
                </c:pt>
                <c:pt idx="18">
                  <c:v>5213</c:v>
                </c:pt>
                <c:pt idx="19">
                  <c:v>3988</c:v>
                </c:pt>
                <c:pt idx="20">
                  <c:v>2546</c:v>
                </c:pt>
                <c:pt idx="21">
                  <c:v>2440</c:v>
                </c:pt>
                <c:pt idx="22">
                  <c:v>1616</c:v>
                </c:pt>
                <c:pt idx="23">
                  <c:v>1790</c:v>
                </c:pt>
                <c:pt idx="24">
                  <c:v>1917</c:v>
                </c:pt>
                <c:pt idx="25">
                  <c:v>2749</c:v>
                </c:pt>
                <c:pt idx="26">
                  <c:v>2211</c:v>
                </c:pt>
                <c:pt idx="27">
                  <c:v>2044</c:v>
                </c:pt>
                <c:pt idx="28">
                  <c:v>2232</c:v>
                </c:pt>
                <c:pt idx="29">
                  <c:v>2490</c:v>
                </c:pt>
                <c:pt idx="30">
                  <c:v>1979</c:v>
                </c:pt>
                <c:pt idx="31">
                  <c:v>2482</c:v>
                </c:pt>
                <c:pt idx="32">
                  <c:v>1949</c:v>
                </c:pt>
                <c:pt idx="33">
                  <c:v>1205</c:v>
                </c:pt>
                <c:pt idx="34">
                  <c:v>1466</c:v>
                </c:pt>
                <c:pt idx="35">
                  <c:v>1873</c:v>
                </c:pt>
                <c:pt idx="36">
                  <c:v>945</c:v>
                </c:pt>
                <c:pt idx="37">
                  <c:v>593</c:v>
                </c:pt>
                <c:pt idx="38">
                  <c:v>702</c:v>
                </c:pt>
                <c:pt idx="39">
                  <c:v>1690</c:v>
                </c:pt>
                <c:pt idx="40">
                  <c:v>1130</c:v>
                </c:pt>
                <c:pt idx="41">
                  <c:v>1307</c:v>
                </c:pt>
                <c:pt idx="42">
                  <c:v>3320</c:v>
                </c:pt>
                <c:pt idx="43">
                  <c:v>4953</c:v>
                </c:pt>
                <c:pt idx="44">
                  <c:v>1844</c:v>
                </c:pt>
                <c:pt idx="45">
                  <c:v>1679</c:v>
                </c:pt>
                <c:pt idx="46">
                  <c:v>2514</c:v>
                </c:pt>
                <c:pt idx="47">
                  <c:v>1407</c:v>
                </c:pt>
                <c:pt idx="48">
                  <c:v>1449</c:v>
                </c:pt>
                <c:pt idx="49">
                  <c:v>2514</c:v>
                </c:pt>
                <c:pt idx="50">
                  <c:v>1311</c:v>
                </c:pt>
                <c:pt idx="51">
                  <c:v>1514</c:v>
                </c:pt>
                <c:pt idx="52">
                  <c:v>2288</c:v>
                </c:pt>
                <c:pt idx="53">
                  <c:v>1808</c:v>
                </c:pt>
                <c:pt idx="54">
                  <c:v>1719</c:v>
                </c:pt>
                <c:pt idx="55">
                  <c:v>2315</c:v>
                </c:pt>
                <c:pt idx="56">
                  <c:v>2433</c:v>
                </c:pt>
                <c:pt idx="57">
                  <c:v>2402</c:v>
                </c:pt>
                <c:pt idx="58">
                  <c:v>1912</c:v>
                </c:pt>
                <c:pt idx="59">
                  <c:v>1664</c:v>
                </c:pt>
                <c:pt idx="60">
                  <c:v>2185</c:v>
                </c:pt>
                <c:pt idx="61">
                  <c:v>2158</c:v>
                </c:pt>
                <c:pt idx="62">
                  <c:v>2155</c:v>
                </c:pt>
                <c:pt idx="63">
                  <c:v>2291</c:v>
                </c:pt>
                <c:pt idx="64">
                  <c:v>2452</c:v>
                </c:pt>
                <c:pt idx="65">
                  <c:v>2399</c:v>
                </c:pt>
                <c:pt idx="66">
                  <c:v>1807</c:v>
                </c:pt>
                <c:pt idx="67">
                  <c:v>1760</c:v>
                </c:pt>
                <c:pt idx="68">
                  <c:v>1361</c:v>
                </c:pt>
                <c:pt idx="69">
                  <c:v>1578</c:v>
                </c:pt>
                <c:pt idx="70">
                  <c:v>1971</c:v>
                </c:pt>
                <c:pt idx="71">
                  <c:v>1774</c:v>
                </c:pt>
                <c:pt idx="72">
                  <c:v>1724</c:v>
                </c:pt>
                <c:pt idx="73">
                  <c:v>1949</c:v>
                </c:pt>
                <c:pt idx="74">
                  <c:v>1957</c:v>
                </c:pt>
                <c:pt idx="75">
                  <c:v>1741</c:v>
                </c:pt>
                <c:pt idx="76">
                  <c:v>1219</c:v>
                </c:pt>
                <c:pt idx="77">
                  <c:v>1265</c:v>
                </c:pt>
                <c:pt idx="78">
                  <c:v>1072</c:v>
                </c:pt>
                <c:pt idx="79">
                  <c:v>1414</c:v>
                </c:pt>
                <c:pt idx="80">
                  <c:v>1146</c:v>
                </c:pt>
                <c:pt idx="81">
                  <c:v>942</c:v>
                </c:pt>
                <c:pt idx="82">
                  <c:v>1361</c:v>
                </c:pt>
                <c:pt idx="83">
                  <c:v>1520</c:v>
                </c:pt>
                <c:pt idx="84">
                  <c:v>1632</c:v>
                </c:pt>
                <c:pt idx="85">
                  <c:v>1510</c:v>
                </c:pt>
                <c:pt idx="86">
                  <c:v>1497</c:v>
                </c:pt>
                <c:pt idx="87">
                  <c:v>1432</c:v>
                </c:pt>
                <c:pt idx="88">
                  <c:v>718</c:v>
                </c:pt>
                <c:pt idx="89">
                  <c:v>665</c:v>
                </c:pt>
                <c:pt idx="90">
                  <c:v>732</c:v>
                </c:pt>
                <c:pt idx="91">
                  <c:v>1199</c:v>
                </c:pt>
                <c:pt idx="92">
                  <c:v>833</c:v>
                </c:pt>
                <c:pt idx="93">
                  <c:v>897</c:v>
                </c:pt>
                <c:pt idx="94">
                  <c:v>915</c:v>
                </c:pt>
                <c:pt idx="95">
                  <c:v>702</c:v>
                </c:pt>
                <c:pt idx="96">
                  <c:v>794</c:v>
                </c:pt>
                <c:pt idx="97">
                  <c:v>1337</c:v>
                </c:pt>
                <c:pt idx="98">
                  <c:v>1604</c:v>
                </c:pt>
                <c:pt idx="99">
                  <c:v>854</c:v>
                </c:pt>
                <c:pt idx="100">
                  <c:v>1836</c:v>
                </c:pt>
                <c:pt idx="101">
                  <c:v>2304</c:v>
                </c:pt>
                <c:pt idx="102">
                  <c:v>1807</c:v>
                </c:pt>
                <c:pt idx="103">
                  <c:v>1531</c:v>
                </c:pt>
              </c:numCache>
            </c:numRef>
          </c:val>
          <c:extLst>
            <c:ext xmlns:c16="http://schemas.microsoft.com/office/drawing/2014/chart" uri="{C3380CC4-5D6E-409C-BE32-E72D297353CC}">
              <c16:uniqueId val="{00000001-E3C4-46BC-AA3D-A3795B7CC7BA}"/>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2028</c:v>
                </c:pt>
                <c:pt idx="1">
                  <c:v>2028</c:v>
                </c:pt>
                <c:pt idx="2">
                  <c:v>2028</c:v>
                </c:pt>
                <c:pt idx="3">
                  <c:v>2028</c:v>
                </c:pt>
                <c:pt idx="4">
                  <c:v>2943</c:v>
                </c:pt>
                <c:pt idx="5">
                  <c:v>3084</c:v>
                </c:pt>
                <c:pt idx="6">
                  <c:v>2000</c:v>
                </c:pt>
                <c:pt idx="7">
                  <c:v>1256</c:v>
                </c:pt>
                <c:pt idx="8">
                  <c:v>412</c:v>
                </c:pt>
                <c:pt idx="9">
                  <c:v>2182</c:v>
                </c:pt>
                <c:pt idx="10">
                  <c:v>2978</c:v>
                </c:pt>
                <c:pt idx="11">
                  <c:v>1629</c:v>
                </c:pt>
                <c:pt idx="12">
                  <c:v>1001</c:v>
                </c:pt>
                <c:pt idx="13">
                  <c:v>378</c:v>
                </c:pt>
                <c:pt idx="14">
                  <c:v>9946</c:v>
                </c:pt>
                <c:pt idx="15">
                  <c:v>12137</c:v>
                </c:pt>
                <c:pt idx="16">
                  <c:v>6138</c:v>
                </c:pt>
                <c:pt idx="17">
                  <c:v>573</c:v>
                </c:pt>
                <c:pt idx="18">
                  <c:v>1911</c:v>
                </c:pt>
                <c:pt idx="19">
                  <c:v>1572</c:v>
                </c:pt>
                <c:pt idx="20">
                  <c:v>1318</c:v>
                </c:pt>
                <c:pt idx="21">
                  <c:v>1474</c:v>
                </c:pt>
                <c:pt idx="22">
                  <c:v>3060</c:v>
                </c:pt>
                <c:pt idx="23">
                  <c:v>2616</c:v>
                </c:pt>
                <c:pt idx="24">
                  <c:v>1361</c:v>
                </c:pt>
                <c:pt idx="25">
                  <c:v>180</c:v>
                </c:pt>
                <c:pt idx="26">
                  <c:v>1706</c:v>
                </c:pt>
                <c:pt idx="27">
                  <c:v>2097</c:v>
                </c:pt>
                <c:pt idx="28">
                  <c:v>4730</c:v>
                </c:pt>
                <c:pt idx="29">
                  <c:v>5465</c:v>
                </c:pt>
                <c:pt idx="30">
                  <c:v>2221</c:v>
                </c:pt>
                <c:pt idx="31">
                  <c:v>182</c:v>
                </c:pt>
                <c:pt idx="32">
                  <c:v>1305</c:v>
                </c:pt>
                <c:pt idx="33">
                  <c:v>2192</c:v>
                </c:pt>
                <c:pt idx="34">
                  <c:v>1632</c:v>
                </c:pt>
                <c:pt idx="35">
                  <c:v>765</c:v>
                </c:pt>
                <c:pt idx="36">
                  <c:v>3408</c:v>
                </c:pt>
                <c:pt idx="37">
                  <c:v>4140</c:v>
                </c:pt>
                <c:pt idx="38">
                  <c:v>2408</c:v>
                </c:pt>
                <c:pt idx="39">
                  <c:v>205</c:v>
                </c:pt>
                <c:pt idx="40">
                  <c:v>1437</c:v>
                </c:pt>
                <c:pt idx="41">
                  <c:v>2342</c:v>
                </c:pt>
                <c:pt idx="42">
                  <c:v>2397</c:v>
                </c:pt>
                <c:pt idx="43">
                  <c:v>1774</c:v>
                </c:pt>
                <c:pt idx="44">
                  <c:v>5172</c:v>
                </c:pt>
                <c:pt idx="45">
                  <c:v>2814</c:v>
                </c:pt>
                <c:pt idx="46">
                  <c:v>581</c:v>
                </c:pt>
                <c:pt idx="47">
                  <c:v>5403</c:v>
                </c:pt>
                <c:pt idx="48">
                  <c:v>3282</c:v>
                </c:pt>
                <c:pt idx="49">
                  <c:v>258</c:v>
                </c:pt>
                <c:pt idx="50">
                  <c:v>4291</c:v>
                </c:pt>
                <c:pt idx="51">
                  <c:v>2578</c:v>
                </c:pt>
                <c:pt idx="52">
                  <c:v>341</c:v>
                </c:pt>
                <c:pt idx="53">
                  <c:v>2465</c:v>
                </c:pt>
                <c:pt idx="54">
                  <c:v>1096</c:v>
                </c:pt>
                <c:pt idx="55">
                  <c:v>246</c:v>
                </c:pt>
                <c:pt idx="56">
                  <c:v>175</c:v>
                </c:pt>
                <c:pt idx="57">
                  <c:v>147</c:v>
                </c:pt>
                <c:pt idx="58">
                  <c:v>1069</c:v>
                </c:pt>
                <c:pt idx="59">
                  <c:v>862</c:v>
                </c:pt>
                <c:pt idx="60">
                  <c:v>187</c:v>
                </c:pt>
                <c:pt idx="61">
                  <c:v>1513</c:v>
                </c:pt>
                <c:pt idx="62">
                  <c:v>2362</c:v>
                </c:pt>
                <c:pt idx="63">
                  <c:v>898</c:v>
                </c:pt>
                <c:pt idx="64">
                  <c:v>431</c:v>
                </c:pt>
                <c:pt idx="65">
                  <c:v>60</c:v>
                </c:pt>
                <c:pt idx="66">
                  <c:v>3535</c:v>
                </c:pt>
                <c:pt idx="67">
                  <c:v>4094</c:v>
                </c:pt>
                <c:pt idx="68">
                  <c:v>4133</c:v>
                </c:pt>
                <c:pt idx="69">
                  <c:v>3639</c:v>
                </c:pt>
                <c:pt idx="70">
                  <c:v>5408</c:v>
                </c:pt>
                <c:pt idx="71">
                  <c:v>3501</c:v>
                </c:pt>
                <c:pt idx="72">
                  <c:v>1232</c:v>
                </c:pt>
                <c:pt idx="73">
                  <c:v>1018</c:v>
                </c:pt>
                <c:pt idx="74">
                  <c:v>156</c:v>
                </c:pt>
                <c:pt idx="75">
                  <c:v>135</c:v>
                </c:pt>
                <c:pt idx="76">
                  <c:v>3172</c:v>
                </c:pt>
                <c:pt idx="77">
                  <c:v>3215</c:v>
                </c:pt>
                <c:pt idx="78">
                  <c:v>2768</c:v>
                </c:pt>
                <c:pt idx="79">
                  <c:v>1343</c:v>
                </c:pt>
                <c:pt idx="80">
                  <c:v>1481</c:v>
                </c:pt>
                <c:pt idx="81">
                  <c:v>2332</c:v>
                </c:pt>
                <c:pt idx="82">
                  <c:v>2313</c:v>
                </c:pt>
                <c:pt idx="83">
                  <c:v>432</c:v>
                </c:pt>
                <c:pt idx="84">
                  <c:v>57</c:v>
                </c:pt>
                <c:pt idx="85">
                  <c:v>51</c:v>
                </c:pt>
                <c:pt idx="86">
                  <c:v>265</c:v>
                </c:pt>
                <c:pt idx="87">
                  <c:v>406</c:v>
                </c:pt>
                <c:pt idx="88">
                  <c:v>2365</c:v>
                </c:pt>
                <c:pt idx="89">
                  <c:v>3110</c:v>
                </c:pt>
                <c:pt idx="90">
                  <c:v>1479</c:v>
                </c:pt>
                <c:pt idx="91">
                  <c:v>191</c:v>
                </c:pt>
                <c:pt idx="92">
                  <c:v>1302</c:v>
                </c:pt>
                <c:pt idx="93">
                  <c:v>1871</c:v>
                </c:pt>
                <c:pt idx="94">
                  <c:v>1555</c:v>
                </c:pt>
                <c:pt idx="95">
                  <c:v>6364</c:v>
                </c:pt>
                <c:pt idx="96">
                  <c:v>8770</c:v>
                </c:pt>
                <c:pt idx="97">
                  <c:v>1132</c:v>
                </c:pt>
                <c:pt idx="98">
                  <c:v>710</c:v>
                </c:pt>
                <c:pt idx="99">
                  <c:v>4715</c:v>
                </c:pt>
                <c:pt idx="100">
                  <c:v>3239</c:v>
                </c:pt>
                <c:pt idx="101">
                  <c:v>1751</c:v>
                </c:pt>
                <c:pt idx="102">
                  <c:v>342</c:v>
                </c:pt>
                <c:pt idx="103">
                  <c:v>209</c:v>
                </c:pt>
              </c:numCache>
            </c:numRef>
          </c:val>
          <c:extLst>
            <c:ext xmlns:c16="http://schemas.microsoft.com/office/drawing/2014/chart" uri="{C3380CC4-5D6E-409C-BE32-E72D297353CC}">
              <c16:uniqueId val="{00000000-E3C4-46BC-AA3D-A3795B7CC7B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d/yyyy"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1283</c:v>
                </c:pt>
                <c:pt idx="1">
                  <c:v>1283</c:v>
                </c:pt>
                <c:pt idx="2">
                  <c:v>1283</c:v>
                </c:pt>
                <c:pt idx="3">
                  <c:v>1283</c:v>
                </c:pt>
                <c:pt idx="4">
                  <c:v>1315</c:v>
                </c:pt>
                <c:pt idx="5">
                  <c:v>1112</c:v>
                </c:pt>
                <c:pt idx="6">
                  <c:v>1135</c:v>
                </c:pt>
                <c:pt idx="7">
                  <c:v>1098</c:v>
                </c:pt>
                <c:pt idx="8">
                  <c:v>989</c:v>
                </c:pt>
                <c:pt idx="9">
                  <c:v>1221</c:v>
                </c:pt>
                <c:pt idx="10">
                  <c:v>1194</c:v>
                </c:pt>
                <c:pt idx="11">
                  <c:v>1222</c:v>
                </c:pt>
                <c:pt idx="12">
                  <c:v>870</c:v>
                </c:pt>
                <c:pt idx="13">
                  <c:v>767</c:v>
                </c:pt>
                <c:pt idx="14">
                  <c:v>974</c:v>
                </c:pt>
                <c:pt idx="15">
                  <c:v>1214</c:v>
                </c:pt>
                <c:pt idx="16">
                  <c:v>939</c:v>
                </c:pt>
                <c:pt idx="17">
                  <c:v>1242</c:v>
                </c:pt>
                <c:pt idx="18">
                  <c:v>1004</c:v>
                </c:pt>
                <c:pt idx="19">
                  <c:v>1254</c:v>
                </c:pt>
                <c:pt idx="20">
                  <c:v>858</c:v>
                </c:pt>
                <c:pt idx="21">
                  <c:v>864</c:v>
                </c:pt>
                <c:pt idx="22">
                  <c:v>1531</c:v>
                </c:pt>
                <c:pt idx="23">
                  <c:v>1435</c:v>
                </c:pt>
                <c:pt idx="24">
                  <c:v>1328</c:v>
                </c:pt>
                <c:pt idx="25">
                  <c:v>1355</c:v>
                </c:pt>
                <c:pt idx="26">
                  <c:v>712</c:v>
                </c:pt>
                <c:pt idx="27">
                  <c:v>658</c:v>
                </c:pt>
                <c:pt idx="28">
                  <c:v>513</c:v>
                </c:pt>
                <c:pt idx="29">
                  <c:v>865</c:v>
                </c:pt>
                <c:pt idx="30">
                  <c:v>723</c:v>
                </c:pt>
                <c:pt idx="31">
                  <c:v>831</c:v>
                </c:pt>
                <c:pt idx="32">
                  <c:v>709</c:v>
                </c:pt>
                <c:pt idx="33">
                  <c:v>752</c:v>
                </c:pt>
                <c:pt idx="34">
                  <c:v>815</c:v>
                </c:pt>
                <c:pt idx="35">
                  <c:v>972</c:v>
                </c:pt>
                <c:pt idx="36">
                  <c:v>641</c:v>
                </c:pt>
                <c:pt idx="37">
                  <c:v>543</c:v>
                </c:pt>
                <c:pt idx="38">
                  <c:v>437</c:v>
                </c:pt>
                <c:pt idx="39">
                  <c:v>673</c:v>
                </c:pt>
                <c:pt idx="40">
                  <c:v>601</c:v>
                </c:pt>
                <c:pt idx="41">
                  <c:v>889</c:v>
                </c:pt>
                <c:pt idx="42">
                  <c:v>813</c:v>
                </c:pt>
                <c:pt idx="43">
                  <c:v>898</c:v>
                </c:pt>
                <c:pt idx="44">
                  <c:v>787</c:v>
                </c:pt>
                <c:pt idx="45">
                  <c:v>1033</c:v>
                </c:pt>
                <c:pt idx="46">
                  <c:v>773</c:v>
                </c:pt>
                <c:pt idx="47">
                  <c:v>957</c:v>
                </c:pt>
                <c:pt idx="48">
                  <c:v>782</c:v>
                </c:pt>
                <c:pt idx="49">
                  <c:v>927</c:v>
                </c:pt>
                <c:pt idx="50">
                  <c:v>680</c:v>
                </c:pt>
                <c:pt idx="51">
                  <c:v>836</c:v>
                </c:pt>
                <c:pt idx="52">
                  <c:v>773</c:v>
                </c:pt>
                <c:pt idx="53">
                  <c:v>770</c:v>
                </c:pt>
                <c:pt idx="54">
                  <c:v>821</c:v>
                </c:pt>
                <c:pt idx="55">
                  <c:v>1025</c:v>
                </c:pt>
                <c:pt idx="56">
                  <c:v>719</c:v>
                </c:pt>
                <c:pt idx="57">
                  <c:v>719</c:v>
                </c:pt>
                <c:pt idx="58">
                  <c:v>696</c:v>
                </c:pt>
                <c:pt idx="59">
                  <c:v>800</c:v>
                </c:pt>
                <c:pt idx="60">
                  <c:v>587</c:v>
                </c:pt>
                <c:pt idx="61">
                  <c:v>536</c:v>
                </c:pt>
                <c:pt idx="62">
                  <c:v>788</c:v>
                </c:pt>
                <c:pt idx="63">
                  <c:v>879</c:v>
                </c:pt>
                <c:pt idx="64">
                  <c:v>943</c:v>
                </c:pt>
                <c:pt idx="65">
                  <c:v>842</c:v>
                </c:pt>
                <c:pt idx="66">
                  <c:v>1028</c:v>
                </c:pt>
                <c:pt idx="67">
                  <c:v>875</c:v>
                </c:pt>
                <c:pt idx="68">
                  <c:v>736</c:v>
                </c:pt>
                <c:pt idx="69">
                  <c:v>625</c:v>
                </c:pt>
                <c:pt idx="70">
                  <c:v>875</c:v>
                </c:pt>
                <c:pt idx="71">
                  <c:v>819</c:v>
                </c:pt>
                <c:pt idx="72">
                  <c:v>898</c:v>
                </c:pt>
                <c:pt idx="73">
                  <c:v>653</c:v>
                </c:pt>
                <c:pt idx="74">
                  <c:v>635</c:v>
                </c:pt>
                <c:pt idx="75">
                  <c:v>582</c:v>
                </c:pt>
                <c:pt idx="76">
                  <c:v>800</c:v>
                </c:pt>
                <c:pt idx="77">
                  <c:v>693</c:v>
                </c:pt>
                <c:pt idx="78">
                  <c:v>989</c:v>
                </c:pt>
                <c:pt idx="79">
                  <c:v>676</c:v>
                </c:pt>
                <c:pt idx="80">
                  <c:v>684</c:v>
                </c:pt>
                <c:pt idx="81">
                  <c:v>538</c:v>
                </c:pt>
                <c:pt idx="82">
                  <c:v>704</c:v>
                </c:pt>
                <c:pt idx="83">
                  <c:v>358</c:v>
                </c:pt>
                <c:pt idx="84">
                  <c:v>375</c:v>
                </c:pt>
                <c:pt idx="85">
                  <c:v>380</c:v>
                </c:pt>
                <c:pt idx="86">
                  <c:v>719</c:v>
                </c:pt>
                <c:pt idx="87">
                  <c:v>747</c:v>
                </c:pt>
                <c:pt idx="88">
                  <c:v>757</c:v>
                </c:pt>
                <c:pt idx="89">
                  <c:v>442</c:v>
                </c:pt>
                <c:pt idx="90">
                  <c:v>355</c:v>
                </c:pt>
                <c:pt idx="91">
                  <c:v>411</c:v>
                </c:pt>
                <c:pt idx="92">
                  <c:v>712</c:v>
                </c:pt>
                <c:pt idx="93">
                  <c:v>697</c:v>
                </c:pt>
                <c:pt idx="94">
                  <c:v>851</c:v>
                </c:pt>
                <c:pt idx="95">
                  <c:v>609</c:v>
                </c:pt>
                <c:pt idx="96">
                  <c:v>523</c:v>
                </c:pt>
                <c:pt idx="97">
                  <c:v>1860</c:v>
                </c:pt>
                <c:pt idx="98">
                  <c:v>796</c:v>
                </c:pt>
                <c:pt idx="99">
                  <c:v>826</c:v>
                </c:pt>
                <c:pt idx="100">
                  <c:v>960</c:v>
                </c:pt>
                <c:pt idx="101">
                  <c:v>702</c:v>
                </c:pt>
                <c:pt idx="102">
                  <c:v>500</c:v>
                </c:pt>
                <c:pt idx="103">
                  <c:v>355</c:v>
                </c:pt>
              </c:numCache>
            </c:numRef>
          </c:val>
          <c:extLst>
            <c:ext xmlns:c16="http://schemas.microsoft.com/office/drawing/2014/chart" uri="{C3380CC4-5D6E-409C-BE32-E72D297353CC}">
              <c16:uniqueId val="{00000000-72A7-4D08-96D7-E73109FBDC9A}"/>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992</c:v>
                </c:pt>
                <c:pt idx="1">
                  <c:v>992</c:v>
                </c:pt>
                <c:pt idx="2">
                  <c:v>992</c:v>
                </c:pt>
                <c:pt idx="3">
                  <c:v>992</c:v>
                </c:pt>
                <c:pt idx="4">
                  <c:v>666</c:v>
                </c:pt>
                <c:pt idx="5">
                  <c:v>2247</c:v>
                </c:pt>
                <c:pt idx="6">
                  <c:v>867</c:v>
                </c:pt>
                <c:pt idx="7">
                  <c:v>62</c:v>
                </c:pt>
                <c:pt idx="8">
                  <c:v>585</c:v>
                </c:pt>
                <c:pt idx="9">
                  <c:v>989</c:v>
                </c:pt>
                <c:pt idx="10">
                  <c:v>670</c:v>
                </c:pt>
                <c:pt idx="11">
                  <c:v>453</c:v>
                </c:pt>
                <c:pt idx="12">
                  <c:v>2527</c:v>
                </c:pt>
                <c:pt idx="13">
                  <c:v>3217</c:v>
                </c:pt>
                <c:pt idx="14">
                  <c:v>1437</c:v>
                </c:pt>
                <c:pt idx="15">
                  <c:v>414</c:v>
                </c:pt>
                <c:pt idx="16">
                  <c:v>1160</c:v>
                </c:pt>
                <c:pt idx="17">
                  <c:v>1335</c:v>
                </c:pt>
                <c:pt idx="18">
                  <c:v>1243</c:v>
                </c:pt>
                <c:pt idx="19">
                  <c:v>911</c:v>
                </c:pt>
                <c:pt idx="20">
                  <c:v>2352</c:v>
                </c:pt>
                <c:pt idx="21">
                  <c:v>2064</c:v>
                </c:pt>
                <c:pt idx="22">
                  <c:v>243</c:v>
                </c:pt>
                <c:pt idx="23">
                  <c:v>155</c:v>
                </c:pt>
                <c:pt idx="24">
                  <c:v>114</c:v>
                </c:pt>
                <c:pt idx="25">
                  <c:v>92</c:v>
                </c:pt>
                <c:pt idx="26">
                  <c:v>1325</c:v>
                </c:pt>
                <c:pt idx="27">
                  <c:v>1896</c:v>
                </c:pt>
                <c:pt idx="28">
                  <c:v>1683</c:v>
                </c:pt>
                <c:pt idx="29">
                  <c:v>1193</c:v>
                </c:pt>
                <c:pt idx="30">
                  <c:v>1037</c:v>
                </c:pt>
                <c:pt idx="31">
                  <c:v>805</c:v>
                </c:pt>
                <c:pt idx="32">
                  <c:v>685</c:v>
                </c:pt>
                <c:pt idx="33">
                  <c:v>502</c:v>
                </c:pt>
                <c:pt idx="34">
                  <c:v>350</c:v>
                </c:pt>
                <c:pt idx="35">
                  <c:v>76</c:v>
                </c:pt>
                <c:pt idx="36">
                  <c:v>1157</c:v>
                </c:pt>
                <c:pt idx="37">
                  <c:v>1474</c:v>
                </c:pt>
                <c:pt idx="38">
                  <c:v>1010</c:v>
                </c:pt>
                <c:pt idx="39">
                  <c:v>501</c:v>
                </c:pt>
                <c:pt idx="40">
                  <c:v>291</c:v>
                </c:pt>
                <c:pt idx="41">
                  <c:v>46</c:v>
                </c:pt>
                <c:pt idx="42">
                  <c:v>722</c:v>
                </c:pt>
                <c:pt idx="43">
                  <c:v>1060</c:v>
                </c:pt>
                <c:pt idx="44">
                  <c:v>1018</c:v>
                </c:pt>
                <c:pt idx="45">
                  <c:v>802</c:v>
                </c:pt>
                <c:pt idx="46">
                  <c:v>1358</c:v>
                </c:pt>
                <c:pt idx="47">
                  <c:v>1373</c:v>
                </c:pt>
                <c:pt idx="48">
                  <c:v>1918</c:v>
                </c:pt>
                <c:pt idx="49">
                  <c:v>1832</c:v>
                </c:pt>
                <c:pt idx="50">
                  <c:v>1159</c:v>
                </c:pt>
                <c:pt idx="51">
                  <c:v>653</c:v>
                </c:pt>
                <c:pt idx="52">
                  <c:v>1187</c:v>
                </c:pt>
                <c:pt idx="53">
                  <c:v>1285</c:v>
                </c:pt>
                <c:pt idx="54">
                  <c:v>715</c:v>
                </c:pt>
                <c:pt idx="55">
                  <c:v>208</c:v>
                </c:pt>
                <c:pt idx="56">
                  <c:v>885</c:v>
                </c:pt>
                <c:pt idx="57">
                  <c:v>1161</c:v>
                </c:pt>
                <c:pt idx="58">
                  <c:v>649</c:v>
                </c:pt>
                <c:pt idx="59">
                  <c:v>94</c:v>
                </c:pt>
                <c:pt idx="60">
                  <c:v>943</c:v>
                </c:pt>
                <c:pt idx="61">
                  <c:v>1692</c:v>
                </c:pt>
                <c:pt idx="62">
                  <c:v>1518</c:v>
                </c:pt>
                <c:pt idx="63">
                  <c:v>759</c:v>
                </c:pt>
                <c:pt idx="64">
                  <c:v>380</c:v>
                </c:pt>
                <c:pt idx="65">
                  <c:v>499</c:v>
                </c:pt>
                <c:pt idx="66">
                  <c:v>152</c:v>
                </c:pt>
                <c:pt idx="67">
                  <c:v>736</c:v>
                </c:pt>
                <c:pt idx="68">
                  <c:v>1205</c:v>
                </c:pt>
                <c:pt idx="69">
                  <c:v>1468</c:v>
                </c:pt>
                <c:pt idx="70">
                  <c:v>1203</c:v>
                </c:pt>
                <c:pt idx="71">
                  <c:v>570</c:v>
                </c:pt>
                <c:pt idx="72">
                  <c:v>225</c:v>
                </c:pt>
                <c:pt idx="73">
                  <c:v>1740</c:v>
                </c:pt>
                <c:pt idx="74">
                  <c:v>1865</c:v>
                </c:pt>
                <c:pt idx="75">
                  <c:v>1445</c:v>
                </c:pt>
                <c:pt idx="76">
                  <c:v>873</c:v>
                </c:pt>
                <c:pt idx="77">
                  <c:v>1230</c:v>
                </c:pt>
                <c:pt idx="78">
                  <c:v>146</c:v>
                </c:pt>
                <c:pt idx="79">
                  <c:v>791</c:v>
                </c:pt>
                <c:pt idx="80">
                  <c:v>963</c:v>
                </c:pt>
                <c:pt idx="81">
                  <c:v>1044</c:v>
                </c:pt>
                <c:pt idx="82">
                  <c:v>872</c:v>
                </c:pt>
                <c:pt idx="83">
                  <c:v>1756</c:v>
                </c:pt>
                <c:pt idx="84">
                  <c:v>2000</c:v>
                </c:pt>
                <c:pt idx="85">
                  <c:v>1175</c:v>
                </c:pt>
                <c:pt idx="86">
                  <c:v>423</c:v>
                </c:pt>
                <c:pt idx="87">
                  <c:v>240</c:v>
                </c:pt>
                <c:pt idx="88">
                  <c:v>115</c:v>
                </c:pt>
                <c:pt idx="89">
                  <c:v>703</c:v>
                </c:pt>
                <c:pt idx="90">
                  <c:v>922</c:v>
                </c:pt>
                <c:pt idx="91">
                  <c:v>562</c:v>
                </c:pt>
                <c:pt idx="92">
                  <c:v>90</c:v>
                </c:pt>
                <c:pt idx="93">
                  <c:v>68</c:v>
                </c:pt>
                <c:pt idx="94">
                  <c:v>51</c:v>
                </c:pt>
                <c:pt idx="95">
                  <c:v>1690</c:v>
                </c:pt>
                <c:pt idx="96">
                  <c:v>2348</c:v>
                </c:pt>
                <c:pt idx="97">
                  <c:v>255</c:v>
                </c:pt>
                <c:pt idx="98">
                  <c:v>1024</c:v>
                </c:pt>
                <c:pt idx="99">
                  <c:v>466</c:v>
                </c:pt>
                <c:pt idx="100">
                  <c:v>43</c:v>
                </c:pt>
                <c:pt idx="101">
                  <c:v>831</c:v>
                </c:pt>
                <c:pt idx="102">
                  <c:v>1304</c:v>
                </c:pt>
                <c:pt idx="103">
                  <c:v>1284</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6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811845961320117E-2"/>
          <c:y val="0"/>
          <c:w val="0.96437630807735975"/>
          <c:h val="0.85225155098855032"/>
        </c:manualLayout>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10810</c:v>
                </c:pt>
                <c:pt idx="1">
                  <c:v>10089</c:v>
                </c:pt>
                <c:pt idx="2">
                  <c:v>5121</c:v>
                </c:pt>
                <c:pt idx="3">
                  <c:v>7276</c:v>
                </c:pt>
                <c:pt idx="4">
                  <c:v>8916</c:v>
                </c:pt>
                <c:pt idx="5">
                  <c:v>9411</c:v>
                </c:pt>
                <c:pt idx="6">
                  <c:v>8041</c:v>
                </c:pt>
                <c:pt idx="7">
                  <c:v>8669</c:v>
                </c:pt>
                <c:pt idx="8">
                  <c:v>11931</c:v>
                </c:pt>
                <c:pt idx="9">
                  <c:v>8121</c:v>
                </c:pt>
                <c:pt idx="10">
                  <c:v>4572</c:v>
                </c:pt>
                <c:pt idx="11">
                  <c:v>8127</c:v>
                </c:pt>
                <c:pt idx="12">
                  <c:v>9262</c:v>
                </c:pt>
                <c:pt idx="13">
                  <c:v>8141</c:v>
                </c:pt>
                <c:pt idx="14">
                  <c:v>9018</c:v>
                </c:pt>
                <c:pt idx="15">
                  <c:v>9003</c:v>
                </c:pt>
                <c:pt idx="16">
                  <c:v>6797</c:v>
                </c:pt>
                <c:pt idx="17">
                  <c:v>4823</c:v>
                </c:pt>
                <c:pt idx="18">
                  <c:v>8083</c:v>
                </c:pt>
                <c:pt idx="19">
                  <c:v>11032</c:v>
                </c:pt>
                <c:pt idx="20">
                  <c:v>10107</c:v>
                </c:pt>
                <c:pt idx="21">
                  <c:v>8418</c:v>
                </c:pt>
                <c:pt idx="22">
                  <c:v>5994</c:v>
                </c:pt>
                <c:pt idx="23">
                  <c:v>7599</c:v>
                </c:pt>
                <c:pt idx="24">
                  <c:v>5115</c:v>
                </c:pt>
                <c:pt idx="25">
                  <c:v>3805</c:v>
                </c:pt>
                <c:pt idx="26">
                  <c:v>6006</c:v>
                </c:pt>
                <c:pt idx="27">
                  <c:v>7379</c:v>
                </c:pt>
                <c:pt idx="28">
                  <c:v>7123</c:v>
                </c:pt>
                <c:pt idx="29">
                  <c:v>7142</c:v>
                </c:pt>
                <c:pt idx="30">
                  <c:v>6877</c:v>
                </c:pt>
                <c:pt idx="31">
                  <c:v>6220</c:v>
                </c:pt>
                <c:pt idx="32">
                  <c:v>5853</c:v>
                </c:pt>
                <c:pt idx="33">
                  <c:v>6009</c:v>
                </c:pt>
                <c:pt idx="34">
                  <c:v>5303</c:v>
                </c:pt>
                <c:pt idx="35">
                  <c:v>5357</c:v>
                </c:pt>
                <c:pt idx="36">
                  <c:v>4769</c:v>
                </c:pt>
                <c:pt idx="37">
                  <c:v>2497</c:v>
                </c:pt>
                <c:pt idx="38">
                  <c:v>3398</c:v>
                </c:pt>
                <c:pt idx="39">
                  <c:v>3621</c:v>
                </c:pt>
                <c:pt idx="40">
                  <c:v>3879</c:v>
                </c:pt>
                <c:pt idx="41">
                  <c:v>4732</c:v>
                </c:pt>
                <c:pt idx="42">
                  <c:v>7308</c:v>
                </c:pt>
                <c:pt idx="43">
                  <c:v>9036</c:v>
                </c:pt>
                <c:pt idx="44">
                  <c:v>10084</c:v>
                </c:pt>
                <c:pt idx="45">
                  <c:v>9083</c:v>
                </c:pt>
                <c:pt idx="46">
                  <c:v>5482</c:v>
                </c:pt>
                <c:pt idx="47">
                  <c:v>3778</c:v>
                </c:pt>
                <c:pt idx="48">
                  <c:v>7809</c:v>
                </c:pt>
                <c:pt idx="49">
                  <c:v>7739</c:v>
                </c:pt>
                <c:pt idx="50">
                  <c:v>7596</c:v>
                </c:pt>
                <c:pt idx="51">
                  <c:v>6196</c:v>
                </c:pt>
                <c:pt idx="52">
                  <c:v>5910</c:v>
                </c:pt>
                <c:pt idx="53">
                  <c:v>3695</c:v>
                </c:pt>
                <c:pt idx="54">
                  <c:v>6430</c:v>
                </c:pt>
                <c:pt idx="55">
                  <c:v>8035</c:v>
                </c:pt>
                <c:pt idx="56">
                  <c:v>7611</c:v>
                </c:pt>
                <c:pt idx="57">
                  <c:v>9039</c:v>
                </c:pt>
                <c:pt idx="58">
                  <c:v>8087</c:v>
                </c:pt>
                <c:pt idx="59">
                  <c:v>8932</c:v>
                </c:pt>
                <c:pt idx="60">
                  <c:v>8868</c:v>
                </c:pt>
                <c:pt idx="61">
                  <c:v>13093</c:v>
                </c:pt>
                <c:pt idx="62">
                  <c:v>8128</c:v>
                </c:pt>
                <c:pt idx="63">
                  <c:v>4890</c:v>
                </c:pt>
                <c:pt idx="64">
                  <c:v>6845</c:v>
                </c:pt>
                <c:pt idx="65">
                  <c:v>8260</c:v>
                </c:pt>
                <c:pt idx="66">
                  <c:v>8951</c:v>
                </c:pt>
                <c:pt idx="67">
                  <c:v>9377</c:v>
                </c:pt>
                <c:pt idx="68">
                  <c:v>7130</c:v>
                </c:pt>
                <c:pt idx="69">
                  <c:v>4881</c:v>
                </c:pt>
                <c:pt idx="70">
                  <c:v>8326</c:v>
                </c:pt>
                <c:pt idx="71">
                  <c:v>6489</c:v>
                </c:pt>
                <c:pt idx="72">
                  <c:v>6081</c:v>
                </c:pt>
                <c:pt idx="73">
                  <c:v>7404</c:v>
                </c:pt>
                <c:pt idx="74">
                  <c:v>7204</c:v>
                </c:pt>
                <c:pt idx="75">
                  <c:v>8013</c:v>
                </c:pt>
                <c:pt idx="76">
                  <c:v>6689</c:v>
                </c:pt>
                <c:pt idx="77">
                  <c:v>6812</c:v>
                </c:pt>
                <c:pt idx="78">
                  <c:v>6117</c:v>
                </c:pt>
                <c:pt idx="79">
                  <c:v>6225</c:v>
                </c:pt>
                <c:pt idx="80">
                  <c:v>3929</c:v>
                </c:pt>
                <c:pt idx="81">
                  <c:v>2740</c:v>
                </c:pt>
                <c:pt idx="82">
                  <c:v>4127</c:v>
                </c:pt>
                <c:pt idx="83">
                  <c:v>4589</c:v>
                </c:pt>
                <c:pt idx="84">
                  <c:v>4916</c:v>
                </c:pt>
                <c:pt idx="85">
                  <c:v>5241</c:v>
                </c:pt>
                <c:pt idx="86">
                  <c:v>5137</c:v>
                </c:pt>
                <c:pt idx="87">
                  <c:v>5001</c:v>
                </c:pt>
                <c:pt idx="88">
                  <c:v>4319</c:v>
                </c:pt>
                <c:pt idx="89">
                  <c:v>4010</c:v>
                </c:pt>
                <c:pt idx="90">
                  <c:v>2753</c:v>
                </c:pt>
                <c:pt idx="91">
                  <c:v>1734</c:v>
                </c:pt>
                <c:pt idx="92">
                  <c:v>3341</c:v>
                </c:pt>
                <c:pt idx="93">
                  <c:v>5772</c:v>
                </c:pt>
                <c:pt idx="94">
                  <c:v>5197</c:v>
                </c:pt>
                <c:pt idx="95">
                  <c:v>3434</c:v>
                </c:pt>
                <c:pt idx="96">
                  <c:v>7685</c:v>
                </c:pt>
                <c:pt idx="97">
                  <c:v>4914</c:v>
                </c:pt>
                <c:pt idx="98">
                  <c:v>2971</c:v>
                </c:pt>
                <c:pt idx="99">
                  <c:v>5204</c:v>
                </c:pt>
                <c:pt idx="100">
                  <c:v>5523</c:v>
                </c:pt>
                <c:pt idx="101">
                  <c:v>5494</c:v>
                </c:pt>
                <c:pt idx="102">
                  <c:v>5440</c:v>
                </c:pt>
                <c:pt idx="103">
                  <c:v>9116</c:v>
                </c:pt>
              </c:numCache>
            </c:numRef>
          </c:val>
          <c:extLst>
            <c:ext xmlns:c16="http://schemas.microsoft.com/office/drawing/2014/chart" uri="{C3380CC4-5D6E-409C-BE32-E72D297353CC}">
              <c16:uniqueId val="{00000000-C5B4-4A23-88B4-BEBCEBE310C0}"/>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0</c:v>
                </c:pt>
                <c:pt idx="1">
                  <c:v>1916</c:v>
                </c:pt>
                <c:pt idx="2">
                  <c:v>37396</c:v>
                </c:pt>
                <c:pt idx="3">
                  <c:v>12228</c:v>
                </c:pt>
                <c:pt idx="4">
                  <c:v>142</c:v>
                </c:pt>
                <c:pt idx="5">
                  <c:v>1</c:v>
                </c:pt>
                <c:pt idx="6">
                  <c:v>0</c:v>
                </c:pt>
                <c:pt idx="7">
                  <c:v>0</c:v>
                </c:pt>
                <c:pt idx="8">
                  <c:v>0</c:v>
                </c:pt>
                <c:pt idx="9">
                  <c:v>40819</c:v>
                </c:pt>
                <c:pt idx="10">
                  <c:v>42168</c:v>
                </c:pt>
                <c:pt idx="11">
                  <c:v>6578</c:v>
                </c:pt>
                <c:pt idx="12">
                  <c:v>17192</c:v>
                </c:pt>
                <c:pt idx="13">
                  <c:v>21303</c:v>
                </c:pt>
                <c:pt idx="14">
                  <c:v>7461</c:v>
                </c:pt>
                <c:pt idx="15">
                  <c:v>43</c:v>
                </c:pt>
                <c:pt idx="16">
                  <c:v>35829</c:v>
                </c:pt>
                <c:pt idx="17">
                  <c:v>44812</c:v>
                </c:pt>
                <c:pt idx="18">
                  <c:v>14043</c:v>
                </c:pt>
                <c:pt idx="19">
                  <c:v>60</c:v>
                </c:pt>
                <c:pt idx="20">
                  <c:v>1</c:v>
                </c:pt>
                <c:pt idx="21">
                  <c:v>18875</c:v>
                </c:pt>
                <c:pt idx="22">
                  <c:v>19234</c:v>
                </c:pt>
                <c:pt idx="23">
                  <c:v>2616</c:v>
                </c:pt>
                <c:pt idx="24">
                  <c:v>20182</c:v>
                </c:pt>
                <c:pt idx="25">
                  <c:v>31984</c:v>
                </c:pt>
                <c:pt idx="26">
                  <c:v>10227</c:v>
                </c:pt>
                <c:pt idx="27">
                  <c:v>18</c:v>
                </c:pt>
                <c:pt idx="28">
                  <c:v>2</c:v>
                </c:pt>
                <c:pt idx="29">
                  <c:v>6</c:v>
                </c:pt>
                <c:pt idx="30">
                  <c:v>0</c:v>
                </c:pt>
                <c:pt idx="31">
                  <c:v>0</c:v>
                </c:pt>
                <c:pt idx="32">
                  <c:v>0</c:v>
                </c:pt>
                <c:pt idx="33">
                  <c:v>8404</c:v>
                </c:pt>
                <c:pt idx="34">
                  <c:v>9887</c:v>
                </c:pt>
                <c:pt idx="35">
                  <c:v>3098</c:v>
                </c:pt>
                <c:pt idx="36">
                  <c:v>843</c:v>
                </c:pt>
                <c:pt idx="37">
                  <c:v>19596</c:v>
                </c:pt>
                <c:pt idx="38">
                  <c:v>7044</c:v>
                </c:pt>
                <c:pt idx="39">
                  <c:v>13</c:v>
                </c:pt>
                <c:pt idx="40">
                  <c:v>7657</c:v>
                </c:pt>
                <c:pt idx="41">
                  <c:v>13687</c:v>
                </c:pt>
                <c:pt idx="42">
                  <c:v>5078</c:v>
                </c:pt>
                <c:pt idx="43">
                  <c:v>39</c:v>
                </c:pt>
                <c:pt idx="44">
                  <c:v>2</c:v>
                </c:pt>
                <c:pt idx="45">
                  <c:v>5</c:v>
                </c:pt>
                <c:pt idx="46">
                  <c:v>41369</c:v>
                </c:pt>
                <c:pt idx="47">
                  <c:v>45452</c:v>
                </c:pt>
                <c:pt idx="48">
                  <c:v>446</c:v>
                </c:pt>
                <c:pt idx="49">
                  <c:v>13</c:v>
                </c:pt>
                <c:pt idx="50">
                  <c:v>1</c:v>
                </c:pt>
                <c:pt idx="51">
                  <c:v>14926</c:v>
                </c:pt>
                <c:pt idx="52">
                  <c:v>19078</c:v>
                </c:pt>
                <c:pt idx="53">
                  <c:v>29930</c:v>
                </c:pt>
                <c:pt idx="54">
                  <c:v>9386</c:v>
                </c:pt>
                <c:pt idx="55">
                  <c:v>185</c:v>
                </c:pt>
                <c:pt idx="56">
                  <c:v>2043</c:v>
                </c:pt>
                <c:pt idx="57">
                  <c:v>759</c:v>
                </c:pt>
                <c:pt idx="58">
                  <c:v>3</c:v>
                </c:pt>
                <c:pt idx="59">
                  <c:v>1367</c:v>
                </c:pt>
                <c:pt idx="60">
                  <c:v>3691</c:v>
                </c:pt>
                <c:pt idx="61">
                  <c:v>143</c:v>
                </c:pt>
                <c:pt idx="62">
                  <c:v>25495</c:v>
                </c:pt>
                <c:pt idx="63">
                  <c:v>32467</c:v>
                </c:pt>
                <c:pt idx="64">
                  <c:v>9174</c:v>
                </c:pt>
                <c:pt idx="65">
                  <c:v>96</c:v>
                </c:pt>
                <c:pt idx="66">
                  <c:v>27</c:v>
                </c:pt>
                <c:pt idx="67">
                  <c:v>24</c:v>
                </c:pt>
                <c:pt idx="68">
                  <c:v>40521</c:v>
                </c:pt>
                <c:pt idx="69">
                  <c:v>50190</c:v>
                </c:pt>
                <c:pt idx="70">
                  <c:v>1098</c:v>
                </c:pt>
                <c:pt idx="71">
                  <c:v>10923</c:v>
                </c:pt>
                <c:pt idx="72">
                  <c:v>14964</c:v>
                </c:pt>
                <c:pt idx="73">
                  <c:v>1998</c:v>
                </c:pt>
                <c:pt idx="74">
                  <c:v>15</c:v>
                </c:pt>
                <c:pt idx="75">
                  <c:v>42</c:v>
                </c:pt>
                <c:pt idx="76">
                  <c:v>845</c:v>
                </c:pt>
                <c:pt idx="77">
                  <c:v>24891</c:v>
                </c:pt>
                <c:pt idx="78">
                  <c:v>6259</c:v>
                </c:pt>
                <c:pt idx="79">
                  <c:v>15</c:v>
                </c:pt>
                <c:pt idx="80">
                  <c:v>18834</c:v>
                </c:pt>
                <c:pt idx="81">
                  <c:v>24637</c:v>
                </c:pt>
                <c:pt idx="82">
                  <c:v>16167</c:v>
                </c:pt>
                <c:pt idx="83">
                  <c:v>9715</c:v>
                </c:pt>
                <c:pt idx="84">
                  <c:v>2894</c:v>
                </c:pt>
                <c:pt idx="85">
                  <c:v>6</c:v>
                </c:pt>
                <c:pt idx="86">
                  <c:v>0</c:v>
                </c:pt>
                <c:pt idx="87">
                  <c:v>0</c:v>
                </c:pt>
                <c:pt idx="88">
                  <c:v>0</c:v>
                </c:pt>
                <c:pt idx="89">
                  <c:v>0</c:v>
                </c:pt>
                <c:pt idx="90">
                  <c:v>10681</c:v>
                </c:pt>
                <c:pt idx="91">
                  <c:v>13812</c:v>
                </c:pt>
                <c:pt idx="92">
                  <c:v>4483</c:v>
                </c:pt>
                <c:pt idx="93">
                  <c:v>17</c:v>
                </c:pt>
                <c:pt idx="94">
                  <c:v>38881</c:v>
                </c:pt>
                <c:pt idx="95">
                  <c:v>41220</c:v>
                </c:pt>
                <c:pt idx="96">
                  <c:v>398</c:v>
                </c:pt>
                <c:pt idx="97">
                  <c:v>22261</c:v>
                </c:pt>
                <c:pt idx="98">
                  <c:v>25702</c:v>
                </c:pt>
                <c:pt idx="99">
                  <c:v>3715</c:v>
                </c:pt>
                <c:pt idx="100">
                  <c:v>10</c:v>
                </c:pt>
                <c:pt idx="101">
                  <c:v>2</c:v>
                </c:pt>
                <c:pt idx="102">
                  <c:v>0</c:v>
                </c:pt>
                <c:pt idx="103">
                  <c:v>0</c:v>
                </c:pt>
              </c:numCache>
            </c:numRef>
          </c:val>
          <c:extLst>
            <c:ext xmlns:c16="http://schemas.microsoft.com/office/drawing/2014/chart" uri="{C3380CC4-5D6E-409C-BE32-E72D297353CC}">
              <c16:uniqueId val="{00000001-C5B4-4A23-88B4-BEBCEBE310C0}"/>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m/yyyy" sourceLinked="0"/>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7114412875446612E-2"/>
          <c:y val="0"/>
          <c:w val="0.95678150094200787"/>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2-B1F3-4B1C-B6BD-D7555A955EE3}"/>
              </c:ext>
            </c:extLst>
          </c:dPt>
          <c:dPt>
            <c:idx val="1"/>
            <c:invertIfNegative val="0"/>
            <c:bubble3D val="0"/>
            <c:spPr>
              <a:solidFill>
                <a:srgbClr val="E1BFBF"/>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36164881681898342</c:v>
                </c:pt>
                <c:pt idx="1">
                  <c:v>-0.12972516293473116</c:v>
                </c:pt>
                <c:pt idx="2">
                  <c:v>-7.1750254097568272E-2</c:v>
                </c:pt>
                <c:pt idx="3">
                  <c:v>-4.6461719685097692E-2</c:v>
                </c:pt>
                <c:pt idx="4">
                  <c:v>-3.1227904785104E-2</c:v>
                </c:pt>
                <c:pt idx="5">
                  <c:v>-2.7997240891498631E-2</c:v>
                </c:pt>
                <c:pt idx="6">
                  <c:v>-2.174383179801271E-2</c:v>
                </c:pt>
                <c:pt idx="7">
                  <c:v>-1.9651274271414519E-2</c:v>
                </c:pt>
                <c:pt idx="8">
                  <c:v>-1.3874818493414185E-2</c:v>
                </c:pt>
                <c:pt idx="9">
                  <c:v>-7.7371975704753201E-3</c:v>
                </c:pt>
                <c:pt idx="10">
                  <c:v>-4.329776897395941E-3</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9456849691495307E-2"/>
          <c:y val="0.27975726895119418"/>
          <c:w val="0.96119032748959832"/>
          <c:h val="0.71045820353063349"/>
        </c:manualLayout>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2478</c:v>
                </c:pt>
                <c:pt idx="1">
                  <c:v>2478</c:v>
                </c:pt>
                <c:pt idx="2">
                  <c:v>2478</c:v>
                </c:pt>
                <c:pt idx="3">
                  <c:v>2478</c:v>
                </c:pt>
                <c:pt idx="4">
                  <c:v>2368</c:v>
                </c:pt>
                <c:pt idx="5">
                  <c:v>2000</c:v>
                </c:pt>
                <c:pt idx="6">
                  <c:v>2062</c:v>
                </c:pt>
                <c:pt idx="7">
                  <c:v>1695</c:v>
                </c:pt>
                <c:pt idx="8">
                  <c:v>2342</c:v>
                </c:pt>
                <c:pt idx="9">
                  <c:v>2167</c:v>
                </c:pt>
                <c:pt idx="10">
                  <c:v>1912</c:v>
                </c:pt>
                <c:pt idx="11">
                  <c:v>2228</c:v>
                </c:pt>
                <c:pt idx="12">
                  <c:v>2262</c:v>
                </c:pt>
                <c:pt idx="13">
                  <c:v>2672</c:v>
                </c:pt>
                <c:pt idx="14">
                  <c:v>1171</c:v>
                </c:pt>
                <c:pt idx="15">
                  <c:v>1025</c:v>
                </c:pt>
                <c:pt idx="16">
                  <c:v>1176</c:v>
                </c:pt>
                <c:pt idx="17">
                  <c:v>3347</c:v>
                </c:pt>
                <c:pt idx="18">
                  <c:v>5213</c:v>
                </c:pt>
                <c:pt idx="19">
                  <c:v>3988</c:v>
                </c:pt>
                <c:pt idx="20">
                  <c:v>2546</c:v>
                </c:pt>
                <c:pt idx="21">
                  <c:v>2440</c:v>
                </c:pt>
                <c:pt idx="22">
                  <c:v>1616</c:v>
                </c:pt>
                <c:pt idx="23">
                  <c:v>1790</c:v>
                </c:pt>
                <c:pt idx="24">
                  <c:v>1917</c:v>
                </c:pt>
                <c:pt idx="25">
                  <c:v>2749</c:v>
                </c:pt>
                <c:pt idx="26">
                  <c:v>2211</c:v>
                </c:pt>
                <c:pt idx="27">
                  <c:v>2044</c:v>
                </c:pt>
                <c:pt idx="28">
                  <c:v>2232</c:v>
                </c:pt>
                <c:pt idx="29">
                  <c:v>2490</c:v>
                </c:pt>
                <c:pt idx="30">
                  <c:v>1979</c:v>
                </c:pt>
                <c:pt idx="31">
                  <c:v>2482</c:v>
                </c:pt>
                <c:pt idx="32">
                  <c:v>1949</c:v>
                </c:pt>
                <c:pt idx="33">
                  <c:v>1205</c:v>
                </c:pt>
                <c:pt idx="34">
                  <c:v>1466</c:v>
                </c:pt>
                <c:pt idx="35">
                  <c:v>1873</c:v>
                </c:pt>
                <c:pt idx="36">
                  <c:v>945</c:v>
                </c:pt>
                <c:pt idx="37">
                  <c:v>593</c:v>
                </c:pt>
                <c:pt idx="38">
                  <c:v>702</c:v>
                </c:pt>
                <c:pt idx="39">
                  <c:v>1690</c:v>
                </c:pt>
                <c:pt idx="40">
                  <c:v>1130</c:v>
                </c:pt>
                <c:pt idx="41">
                  <c:v>1307</c:v>
                </c:pt>
                <c:pt idx="42">
                  <c:v>3320</c:v>
                </c:pt>
                <c:pt idx="43">
                  <c:v>4953</c:v>
                </c:pt>
                <c:pt idx="44">
                  <c:v>1844</c:v>
                </c:pt>
                <c:pt idx="45">
                  <c:v>1679</c:v>
                </c:pt>
                <c:pt idx="46">
                  <c:v>2514</c:v>
                </c:pt>
                <c:pt idx="47">
                  <c:v>1407</c:v>
                </c:pt>
                <c:pt idx="48">
                  <c:v>1449</c:v>
                </c:pt>
                <c:pt idx="49">
                  <c:v>2514</c:v>
                </c:pt>
                <c:pt idx="50">
                  <c:v>1311</c:v>
                </c:pt>
                <c:pt idx="51">
                  <c:v>1514</c:v>
                </c:pt>
                <c:pt idx="52">
                  <c:v>2288</c:v>
                </c:pt>
                <c:pt idx="53">
                  <c:v>1808</c:v>
                </c:pt>
                <c:pt idx="54">
                  <c:v>1719</c:v>
                </c:pt>
                <c:pt idx="55">
                  <c:v>2315</c:v>
                </c:pt>
                <c:pt idx="56">
                  <c:v>2433</c:v>
                </c:pt>
                <c:pt idx="57">
                  <c:v>2402</c:v>
                </c:pt>
                <c:pt idx="58">
                  <c:v>1912</c:v>
                </c:pt>
                <c:pt idx="59">
                  <c:v>1664</c:v>
                </c:pt>
                <c:pt idx="60">
                  <c:v>2185</c:v>
                </c:pt>
                <c:pt idx="61">
                  <c:v>2158</c:v>
                </c:pt>
                <c:pt idx="62">
                  <c:v>2155</c:v>
                </c:pt>
                <c:pt idx="63">
                  <c:v>2291</c:v>
                </c:pt>
                <c:pt idx="64">
                  <c:v>2452</c:v>
                </c:pt>
                <c:pt idx="65">
                  <c:v>2399</c:v>
                </c:pt>
                <c:pt idx="66">
                  <c:v>1807</c:v>
                </c:pt>
                <c:pt idx="67">
                  <c:v>1760</c:v>
                </c:pt>
                <c:pt idx="68">
                  <c:v>1361</c:v>
                </c:pt>
                <c:pt idx="69">
                  <c:v>1578</c:v>
                </c:pt>
                <c:pt idx="70">
                  <c:v>1971</c:v>
                </c:pt>
                <c:pt idx="71">
                  <c:v>1774</c:v>
                </c:pt>
                <c:pt idx="72">
                  <c:v>1724</c:v>
                </c:pt>
                <c:pt idx="73">
                  <c:v>1949</c:v>
                </c:pt>
                <c:pt idx="74">
                  <c:v>1957</c:v>
                </c:pt>
                <c:pt idx="75">
                  <c:v>1741</c:v>
                </c:pt>
                <c:pt idx="76">
                  <c:v>1219</c:v>
                </c:pt>
                <c:pt idx="77">
                  <c:v>1265</c:v>
                </c:pt>
                <c:pt idx="78">
                  <c:v>1072</c:v>
                </c:pt>
                <c:pt idx="79">
                  <c:v>1414</c:v>
                </c:pt>
                <c:pt idx="80">
                  <c:v>1146</c:v>
                </c:pt>
                <c:pt idx="81">
                  <c:v>942</c:v>
                </c:pt>
                <c:pt idx="82">
                  <c:v>1361</c:v>
                </c:pt>
                <c:pt idx="83">
                  <c:v>1520</c:v>
                </c:pt>
                <c:pt idx="84">
                  <c:v>1632</c:v>
                </c:pt>
                <c:pt idx="85">
                  <c:v>1510</c:v>
                </c:pt>
                <c:pt idx="86">
                  <c:v>1497</c:v>
                </c:pt>
                <c:pt idx="87">
                  <c:v>1432</c:v>
                </c:pt>
                <c:pt idx="88">
                  <c:v>718</c:v>
                </c:pt>
                <c:pt idx="89">
                  <c:v>665</c:v>
                </c:pt>
                <c:pt idx="90">
                  <c:v>732</c:v>
                </c:pt>
                <c:pt idx="91">
                  <c:v>1199</c:v>
                </c:pt>
                <c:pt idx="92">
                  <c:v>833</c:v>
                </c:pt>
                <c:pt idx="93">
                  <c:v>897</c:v>
                </c:pt>
                <c:pt idx="94">
                  <c:v>915</c:v>
                </c:pt>
                <c:pt idx="95">
                  <c:v>702</c:v>
                </c:pt>
                <c:pt idx="96">
                  <c:v>794</c:v>
                </c:pt>
                <c:pt idx="97">
                  <c:v>1337</c:v>
                </c:pt>
                <c:pt idx="98">
                  <c:v>1604</c:v>
                </c:pt>
                <c:pt idx="99">
                  <c:v>854</c:v>
                </c:pt>
                <c:pt idx="100">
                  <c:v>1836</c:v>
                </c:pt>
                <c:pt idx="101">
                  <c:v>2304</c:v>
                </c:pt>
                <c:pt idx="102">
                  <c:v>1807</c:v>
                </c:pt>
                <c:pt idx="103">
                  <c:v>1531</c:v>
                </c:pt>
              </c:numCache>
            </c:numRef>
          </c:val>
          <c:extLst>
            <c:ext xmlns:c16="http://schemas.microsoft.com/office/drawing/2014/chart" uri="{C3380CC4-5D6E-409C-BE32-E72D297353CC}">
              <c16:uniqueId val="{00000001-E3C4-46BC-AA3D-A3795B7CC7BA}"/>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2028</c:v>
                </c:pt>
                <c:pt idx="1">
                  <c:v>2028</c:v>
                </c:pt>
                <c:pt idx="2">
                  <c:v>2028</c:v>
                </c:pt>
                <c:pt idx="3">
                  <c:v>2028</c:v>
                </c:pt>
                <c:pt idx="4">
                  <c:v>2943</c:v>
                </c:pt>
                <c:pt idx="5">
                  <c:v>3084</c:v>
                </c:pt>
                <c:pt idx="6">
                  <c:v>2000</c:v>
                </c:pt>
                <c:pt idx="7">
                  <c:v>1256</c:v>
                </c:pt>
                <c:pt idx="8">
                  <c:v>412</c:v>
                </c:pt>
                <c:pt idx="9">
                  <c:v>2182</c:v>
                </c:pt>
                <c:pt idx="10">
                  <c:v>2978</c:v>
                </c:pt>
                <c:pt idx="11">
                  <c:v>1629</c:v>
                </c:pt>
                <c:pt idx="12">
                  <c:v>1001</c:v>
                </c:pt>
                <c:pt idx="13">
                  <c:v>378</c:v>
                </c:pt>
                <c:pt idx="14">
                  <c:v>9946</c:v>
                </c:pt>
                <c:pt idx="15">
                  <c:v>12137</c:v>
                </c:pt>
                <c:pt idx="16">
                  <c:v>6138</c:v>
                </c:pt>
                <c:pt idx="17">
                  <c:v>573</c:v>
                </c:pt>
                <c:pt idx="18">
                  <c:v>1911</c:v>
                </c:pt>
                <c:pt idx="19">
                  <c:v>1572</c:v>
                </c:pt>
                <c:pt idx="20">
                  <c:v>1318</c:v>
                </c:pt>
                <c:pt idx="21">
                  <c:v>1474</c:v>
                </c:pt>
                <c:pt idx="22">
                  <c:v>3060</c:v>
                </c:pt>
                <c:pt idx="23">
                  <c:v>2616</c:v>
                </c:pt>
                <c:pt idx="24">
                  <c:v>1361</c:v>
                </c:pt>
                <c:pt idx="25">
                  <c:v>180</c:v>
                </c:pt>
                <c:pt idx="26">
                  <c:v>1706</c:v>
                </c:pt>
                <c:pt idx="27">
                  <c:v>2097</c:v>
                </c:pt>
                <c:pt idx="28">
                  <c:v>4730</c:v>
                </c:pt>
                <c:pt idx="29">
                  <c:v>5465</c:v>
                </c:pt>
                <c:pt idx="30">
                  <c:v>2221</c:v>
                </c:pt>
                <c:pt idx="31">
                  <c:v>182</c:v>
                </c:pt>
                <c:pt idx="32">
                  <c:v>1305</c:v>
                </c:pt>
                <c:pt idx="33">
                  <c:v>2192</c:v>
                </c:pt>
                <c:pt idx="34">
                  <c:v>1632</c:v>
                </c:pt>
                <c:pt idx="35">
                  <c:v>765</c:v>
                </c:pt>
                <c:pt idx="36">
                  <c:v>3408</c:v>
                </c:pt>
                <c:pt idx="37">
                  <c:v>4140</c:v>
                </c:pt>
                <c:pt idx="38">
                  <c:v>2408</c:v>
                </c:pt>
                <c:pt idx="39">
                  <c:v>205</c:v>
                </c:pt>
                <c:pt idx="40">
                  <c:v>1437</c:v>
                </c:pt>
                <c:pt idx="41">
                  <c:v>2342</c:v>
                </c:pt>
                <c:pt idx="42">
                  <c:v>2397</c:v>
                </c:pt>
                <c:pt idx="43">
                  <c:v>1774</c:v>
                </c:pt>
                <c:pt idx="44">
                  <c:v>5172</c:v>
                </c:pt>
                <c:pt idx="45">
                  <c:v>2814</c:v>
                </c:pt>
                <c:pt idx="46">
                  <c:v>581</c:v>
                </c:pt>
                <c:pt idx="47">
                  <c:v>5403</c:v>
                </c:pt>
                <c:pt idx="48">
                  <c:v>3282</c:v>
                </c:pt>
                <c:pt idx="49">
                  <c:v>258</c:v>
                </c:pt>
                <c:pt idx="50">
                  <c:v>4291</c:v>
                </c:pt>
                <c:pt idx="51">
                  <c:v>2578</c:v>
                </c:pt>
                <c:pt idx="52">
                  <c:v>341</c:v>
                </c:pt>
                <c:pt idx="53">
                  <c:v>2465</c:v>
                </c:pt>
                <c:pt idx="54">
                  <c:v>1096</c:v>
                </c:pt>
                <c:pt idx="55">
                  <c:v>246</c:v>
                </c:pt>
                <c:pt idx="56">
                  <c:v>175</c:v>
                </c:pt>
                <c:pt idx="57">
                  <c:v>147</c:v>
                </c:pt>
                <c:pt idx="58">
                  <c:v>1069</c:v>
                </c:pt>
                <c:pt idx="59">
                  <c:v>862</c:v>
                </c:pt>
                <c:pt idx="60">
                  <c:v>187</c:v>
                </c:pt>
                <c:pt idx="61">
                  <c:v>1513</c:v>
                </c:pt>
                <c:pt idx="62">
                  <c:v>2362</c:v>
                </c:pt>
                <c:pt idx="63">
                  <c:v>898</c:v>
                </c:pt>
                <c:pt idx="64">
                  <c:v>431</c:v>
                </c:pt>
                <c:pt idx="65">
                  <c:v>60</c:v>
                </c:pt>
                <c:pt idx="66">
                  <c:v>3535</c:v>
                </c:pt>
                <c:pt idx="67">
                  <c:v>4094</c:v>
                </c:pt>
                <c:pt idx="68">
                  <c:v>4133</c:v>
                </c:pt>
                <c:pt idx="69">
                  <c:v>3639</c:v>
                </c:pt>
                <c:pt idx="70">
                  <c:v>5408</c:v>
                </c:pt>
                <c:pt idx="71">
                  <c:v>3501</c:v>
                </c:pt>
                <c:pt idx="72">
                  <c:v>1232</c:v>
                </c:pt>
                <c:pt idx="73">
                  <c:v>1018</c:v>
                </c:pt>
                <c:pt idx="74">
                  <c:v>156</c:v>
                </c:pt>
                <c:pt idx="75">
                  <c:v>135</c:v>
                </c:pt>
                <c:pt idx="76">
                  <c:v>3172</c:v>
                </c:pt>
                <c:pt idx="77">
                  <c:v>3215</c:v>
                </c:pt>
                <c:pt idx="78">
                  <c:v>2768</c:v>
                </c:pt>
                <c:pt idx="79">
                  <c:v>1343</c:v>
                </c:pt>
                <c:pt idx="80">
                  <c:v>1481</c:v>
                </c:pt>
                <c:pt idx="81">
                  <c:v>2332</c:v>
                </c:pt>
                <c:pt idx="82">
                  <c:v>2313</c:v>
                </c:pt>
                <c:pt idx="83">
                  <c:v>432</c:v>
                </c:pt>
                <c:pt idx="84">
                  <c:v>57</c:v>
                </c:pt>
                <c:pt idx="85">
                  <c:v>51</c:v>
                </c:pt>
                <c:pt idx="86">
                  <c:v>265</c:v>
                </c:pt>
                <c:pt idx="87">
                  <c:v>406</c:v>
                </c:pt>
                <c:pt idx="88">
                  <c:v>2365</c:v>
                </c:pt>
                <c:pt idx="89">
                  <c:v>3110</c:v>
                </c:pt>
                <c:pt idx="90">
                  <c:v>1479</c:v>
                </c:pt>
                <c:pt idx="91">
                  <c:v>191</c:v>
                </c:pt>
                <c:pt idx="92">
                  <c:v>1302</c:v>
                </c:pt>
                <c:pt idx="93">
                  <c:v>1871</c:v>
                </c:pt>
                <c:pt idx="94">
                  <c:v>1555</c:v>
                </c:pt>
                <c:pt idx="95">
                  <c:v>6364</c:v>
                </c:pt>
                <c:pt idx="96">
                  <c:v>8770</c:v>
                </c:pt>
                <c:pt idx="97">
                  <c:v>1132</c:v>
                </c:pt>
                <c:pt idx="98">
                  <c:v>710</c:v>
                </c:pt>
                <c:pt idx="99">
                  <c:v>4715</c:v>
                </c:pt>
                <c:pt idx="100">
                  <c:v>3239</c:v>
                </c:pt>
                <c:pt idx="101">
                  <c:v>1751</c:v>
                </c:pt>
                <c:pt idx="102">
                  <c:v>342</c:v>
                </c:pt>
                <c:pt idx="103">
                  <c:v>209</c:v>
                </c:pt>
              </c:numCache>
            </c:numRef>
          </c:val>
          <c:extLst>
            <c:ext xmlns:c16="http://schemas.microsoft.com/office/drawing/2014/chart" uri="{C3380CC4-5D6E-409C-BE32-E72D297353CC}">
              <c16:uniqueId val="{00000000-E3C4-46BC-AA3D-A3795B7CC7B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d/yyyy"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1283</c:v>
                </c:pt>
                <c:pt idx="1">
                  <c:v>1283</c:v>
                </c:pt>
                <c:pt idx="2">
                  <c:v>1283</c:v>
                </c:pt>
                <c:pt idx="3">
                  <c:v>1283</c:v>
                </c:pt>
                <c:pt idx="4">
                  <c:v>1315</c:v>
                </c:pt>
                <c:pt idx="5">
                  <c:v>1112</c:v>
                </c:pt>
                <c:pt idx="6">
                  <c:v>1135</c:v>
                </c:pt>
                <c:pt idx="7">
                  <c:v>1098</c:v>
                </c:pt>
                <c:pt idx="8">
                  <c:v>989</c:v>
                </c:pt>
                <c:pt idx="9">
                  <c:v>1221</c:v>
                </c:pt>
                <c:pt idx="10">
                  <c:v>1194</c:v>
                </c:pt>
                <c:pt idx="11">
                  <c:v>1222</c:v>
                </c:pt>
                <c:pt idx="12">
                  <c:v>870</c:v>
                </c:pt>
                <c:pt idx="13">
                  <c:v>767</c:v>
                </c:pt>
                <c:pt idx="14">
                  <c:v>974</c:v>
                </c:pt>
                <c:pt idx="15">
                  <c:v>1214</c:v>
                </c:pt>
                <c:pt idx="16">
                  <c:v>939</c:v>
                </c:pt>
                <c:pt idx="17">
                  <c:v>1242</c:v>
                </c:pt>
                <c:pt idx="18">
                  <c:v>1004</c:v>
                </c:pt>
                <c:pt idx="19">
                  <c:v>1254</c:v>
                </c:pt>
                <c:pt idx="20">
                  <c:v>858</c:v>
                </c:pt>
                <c:pt idx="21">
                  <c:v>864</c:v>
                </c:pt>
                <c:pt idx="22">
                  <c:v>1531</c:v>
                </c:pt>
                <c:pt idx="23">
                  <c:v>1435</c:v>
                </c:pt>
                <c:pt idx="24">
                  <c:v>1328</c:v>
                </c:pt>
                <c:pt idx="25">
                  <c:v>1355</c:v>
                </c:pt>
                <c:pt idx="26">
                  <c:v>712</c:v>
                </c:pt>
                <c:pt idx="27">
                  <c:v>658</c:v>
                </c:pt>
                <c:pt idx="28">
                  <c:v>513</c:v>
                </c:pt>
                <c:pt idx="29">
                  <c:v>865</c:v>
                </c:pt>
                <c:pt idx="30">
                  <c:v>723</c:v>
                </c:pt>
                <c:pt idx="31">
                  <c:v>831</c:v>
                </c:pt>
                <c:pt idx="32">
                  <c:v>709</c:v>
                </c:pt>
                <c:pt idx="33">
                  <c:v>752</c:v>
                </c:pt>
                <c:pt idx="34">
                  <c:v>815</c:v>
                </c:pt>
                <c:pt idx="35">
                  <c:v>972</c:v>
                </c:pt>
                <c:pt idx="36">
                  <c:v>641</c:v>
                </c:pt>
                <c:pt idx="37">
                  <c:v>543</c:v>
                </c:pt>
                <c:pt idx="38">
                  <c:v>437</c:v>
                </c:pt>
                <c:pt idx="39">
                  <c:v>673</c:v>
                </c:pt>
                <c:pt idx="40">
                  <c:v>601</c:v>
                </c:pt>
                <c:pt idx="41">
                  <c:v>889</c:v>
                </c:pt>
                <c:pt idx="42">
                  <c:v>813</c:v>
                </c:pt>
                <c:pt idx="43">
                  <c:v>898</c:v>
                </c:pt>
                <c:pt idx="44">
                  <c:v>787</c:v>
                </c:pt>
                <c:pt idx="45">
                  <c:v>1033</c:v>
                </c:pt>
                <c:pt idx="46">
                  <c:v>773</c:v>
                </c:pt>
                <c:pt idx="47">
                  <c:v>957</c:v>
                </c:pt>
                <c:pt idx="48">
                  <c:v>782</c:v>
                </c:pt>
                <c:pt idx="49">
                  <c:v>927</c:v>
                </c:pt>
                <c:pt idx="50">
                  <c:v>680</c:v>
                </c:pt>
                <c:pt idx="51">
                  <c:v>836</c:v>
                </c:pt>
                <c:pt idx="52">
                  <c:v>773</c:v>
                </c:pt>
                <c:pt idx="53">
                  <c:v>770</c:v>
                </c:pt>
                <c:pt idx="54">
                  <c:v>821</c:v>
                </c:pt>
                <c:pt idx="55">
                  <c:v>1025</c:v>
                </c:pt>
                <c:pt idx="56">
                  <c:v>719</c:v>
                </c:pt>
                <c:pt idx="57">
                  <c:v>719</c:v>
                </c:pt>
                <c:pt idx="58">
                  <c:v>696</c:v>
                </c:pt>
                <c:pt idx="59">
                  <c:v>800</c:v>
                </c:pt>
                <c:pt idx="60">
                  <c:v>587</c:v>
                </c:pt>
                <c:pt idx="61">
                  <c:v>536</c:v>
                </c:pt>
                <c:pt idx="62">
                  <c:v>788</c:v>
                </c:pt>
                <c:pt idx="63">
                  <c:v>879</c:v>
                </c:pt>
                <c:pt idx="64">
                  <c:v>943</c:v>
                </c:pt>
                <c:pt idx="65">
                  <c:v>842</c:v>
                </c:pt>
                <c:pt idx="66">
                  <c:v>1028</c:v>
                </c:pt>
                <c:pt idx="67">
                  <c:v>875</c:v>
                </c:pt>
                <c:pt idx="68">
                  <c:v>736</c:v>
                </c:pt>
                <c:pt idx="69">
                  <c:v>625</c:v>
                </c:pt>
                <c:pt idx="70">
                  <c:v>875</c:v>
                </c:pt>
                <c:pt idx="71">
                  <c:v>819</c:v>
                </c:pt>
                <c:pt idx="72">
                  <c:v>898</c:v>
                </c:pt>
                <c:pt idx="73">
                  <c:v>653</c:v>
                </c:pt>
                <c:pt idx="74">
                  <c:v>635</c:v>
                </c:pt>
                <c:pt idx="75">
                  <c:v>582</c:v>
                </c:pt>
                <c:pt idx="76">
                  <c:v>800</c:v>
                </c:pt>
                <c:pt idx="77">
                  <c:v>693</c:v>
                </c:pt>
                <c:pt idx="78">
                  <c:v>989</c:v>
                </c:pt>
                <c:pt idx="79">
                  <c:v>676</c:v>
                </c:pt>
                <c:pt idx="80">
                  <c:v>684</c:v>
                </c:pt>
                <c:pt idx="81">
                  <c:v>538</c:v>
                </c:pt>
                <c:pt idx="82">
                  <c:v>704</c:v>
                </c:pt>
                <c:pt idx="83">
                  <c:v>358</c:v>
                </c:pt>
                <c:pt idx="84">
                  <c:v>375</c:v>
                </c:pt>
                <c:pt idx="85">
                  <c:v>380</c:v>
                </c:pt>
                <c:pt idx="86">
                  <c:v>719</c:v>
                </c:pt>
                <c:pt idx="87">
                  <c:v>747</c:v>
                </c:pt>
                <c:pt idx="88">
                  <c:v>757</c:v>
                </c:pt>
                <c:pt idx="89">
                  <c:v>442</c:v>
                </c:pt>
                <c:pt idx="90">
                  <c:v>355</c:v>
                </c:pt>
                <c:pt idx="91">
                  <c:v>411</c:v>
                </c:pt>
                <c:pt idx="92">
                  <c:v>712</c:v>
                </c:pt>
                <c:pt idx="93">
                  <c:v>697</c:v>
                </c:pt>
                <c:pt idx="94">
                  <c:v>851</c:v>
                </c:pt>
                <c:pt idx="95">
                  <c:v>609</c:v>
                </c:pt>
                <c:pt idx="96">
                  <c:v>523</c:v>
                </c:pt>
                <c:pt idx="97">
                  <c:v>1860</c:v>
                </c:pt>
                <c:pt idx="98">
                  <c:v>796</c:v>
                </c:pt>
                <c:pt idx="99">
                  <c:v>826</c:v>
                </c:pt>
                <c:pt idx="100">
                  <c:v>960</c:v>
                </c:pt>
                <c:pt idx="101">
                  <c:v>702</c:v>
                </c:pt>
                <c:pt idx="102">
                  <c:v>500</c:v>
                </c:pt>
                <c:pt idx="103">
                  <c:v>355</c:v>
                </c:pt>
              </c:numCache>
            </c:numRef>
          </c:val>
          <c:extLst>
            <c:ext xmlns:c16="http://schemas.microsoft.com/office/drawing/2014/chart" uri="{C3380CC4-5D6E-409C-BE32-E72D297353CC}">
              <c16:uniqueId val="{00000000-72A7-4D08-96D7-E73109FBDC9A}"/>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992</c:v>
                </c:pt>
                <c:pt idx="1">
                  <c:v>992</c:v>
                </c:pt>
                <c:pt idx="2">
                  <c:v>992</c:v>
                </c:pt>
                <c:pt idx="3">
                  <c:v>992</c:v>
                </c:pt>
                <c:pt idx="4">
                  <c:v>666</c:v>
                </c:pt>
                <c:pt idx="5">
                  <c:v>2247</c:v>
                </c:pt>
                <c:pt idx="6">
                  <c:v>867</c:v>
                </c:pt>
                <c:pt idx="7">
                  <c:v>62</c:v>
                </c:pt>
                <c:pt idx="8">
                  <c:v>585</c:v>
                </c:pt>
                <c:pt idx="9">
                  <c:v>989</c:v>
                </c:pt>
                <c:pt idx="10">
                  <c:v>670</c:v>
                </c:pt>
                <c:pt idx="11">
                  <c:v>453</c:v>
                </c:pt>
                <c:pt idx="12">
                  <c:v>2527</c:v>
                </c:pt>
                <c:pt idx="13">
                  <c:v>3217</c:v>
                </c:pt>
                <c:pt idx="14">
                  <c:v>1437</c:v>
                </c:pt>
                <c:pt idx="15">
                  <c:v>414</c:v>
                </c:pt>
                <c:pt idx="16">
                  <c:v>1160</c:v>
                </c:pt>
                <c:pt idx="17">
                  <c:v>1335</c:v>
                </c:pt>
                <c:pt idx="18">
                  <c:v>1243</c:v>
                </c:pt>
                <c:pt idx="19">
                  <c:v>911</c:v>
                </c:pt>
                <c:pt idx="20">
                  <c:v>2352</c:v>
                </c:pt>
                <c:pt idx="21">
                  <c:v>2064</c:v>
                </c:pt>
                <c:pt idx="22">
                  <c:v>243</c:v>
                </c:pt>
                <c:pt idx="23">
                  <c:v>155</c:v>
                </c:pt>
                <c:pt idx="24">
                  <c:v>114</c:v>
                </c:pt>
                <c:pt idx="25">
                  <c:v>92</c:v>
                </c:pt>
                <c:pt idx="26">
                  <c:v>1325</c:v>
                </c:pt>
                <c:pt idx="27">
                  <c:v>1896</c:v>
                </c:pt>
                <c:pt idx="28">
                  <c:v>1683</c:v>
                </c:pt>
                <c:pt idx="29">
                  <c:v>1193</c:v>
                </c:pt>
                <c:pt idx="30">
                  <c:v>1037</c:v>
                </c:pt>
                <c:pt idx="31">
                  <c:v>805</c:v>
                </c:pt>
                <c:pt idx="32">
                  <c:v>685</c:v>
                </c:pt>
                <c:pt idx="33">
                  <c:v>502</c:v>
                </c:pt>
                <c:pt idx="34">
                  <c:v>350</c:v>
                </c:pt>
                <c:pt idx="35">
                  <c:v>76</c:v>
                </c:pt>
                <c:pt idx="36">
                  <c:v>1157</c:v>
                </c:pt>
                <c:pt idx="37">
                  <c:v>1474</c:v>
                </c:pt>
                <c:pt idx="38">
                  <c:v>1010</c:v>
                </c:pt>
                <c:pt idx="39">
                  <c:v>501</c:v>
                </c:pt>
                <c:pt idx="40">
                  <c:v>291</c:v>
                </c:pt>
                <c:pt idx="41">
                  <c:v>46</c:v>
                </c:pt>
                <c:pt idx="42">
                  <c:v>722</c:v>
                </c:pt>
                <c:pt idx="43">
                  <c:v>1060</c:v>
                </c:pt>
                <c:pt idx="44">
                  <c:v>1018</c:v>
                </c:pt>
                <c:pt idx="45">
                  <c:v>802</c:v>
                </c:pt>
                <c:pt idx="46">
                  <c:v>1358</c:v>
                </c:pt>
                <c:pt idx="47">
                  <c:v>1373</c:v>
                </c:pt>
                <c:pt idx="48">
                  <c:v>1918</c:v>
                </c:pt>
                <c:pt idx="49">
                  <c:v>1832</c:v>
                </c:pt>
                <c:pt idx="50">
                  <c:v>1159</c:v>
                </c:pt>
                <c:pt idx="51">
                  <c:v>653</c:v>
                </c:pt>
                <c:pt idx="52">
                  <c:v>1187</c:v>
                </c:pt>
                <c:pt idx="53">
                  <c:v>1285</c:v>
                </c:pt>
                <c:pt idx="54">
                  <c:v>715</c:v>
                </c:pt>
                <c:pt idx="55">
                  <c:v>208</c:v>
                </c:pt>
                <c:pt idx="56">
                  <c:v>885</c:v>
                </c:pt>
                <c:pt idx="57">
                  <c:v>1161</c:v>
                </c:pt>
                <c:pt idx="58">
                  <c:v>649</c:v>
                </c:pt>
                <c:pt idx="59">
                  <c:v>94</c:v>
                </c:pt>
                <c:pt idx="60">
                  <c:v>943</c:v>
                </c:pt>
                <c:pt idx="61">
                  <c:v>1692</c:v>
                </c:pt>
                <c:pt idx="62">
                  <c:v>1518</c:v>
                </c:pt>
                <c:pt idx="63">
                  <c:v>759</c:v>
                </c:pt>
                <c:pt idx="64">
                  <c:v>380</c:v>
                </c:pt>
                <c:pt idx="65">
                  <c:v>499</c:v>
                </c:pt>
                <c:pt idx="66">
                  <c:v>152</c:v>
                </c:pt>
                <c:pt idx="67">
                  <c:v>736</c:v>
                </c:pt>
                <c:pt idx="68">
                  <c:v>1205</c:v>
                </c:pt>
                <c:pt idx="69">
                  <c:v>1468</c:v>
                </c:pt>
                <c:pt idx="70">
                  <c:v>1203</c:v>
                </c:pt>
                <c:pt idx="71">
                  <c:v>570</c:v>
                </c:pt>
                <c:pt idx="72">
                  <c:v>225</c:v>
                </c:pt>
                <c:pt idx="73">
                  <c:v>1740</c:v>
                </c:pt>
                <c:pt idx="74">
                  <c:v>1865</c:v>
                </c:pt>
                <c:pt idx="75">
                  <c:v>1445</c:v>
                </c:pt>
                <c:pt idx="76">
                  <c:v>873</c:v>
                </c:pt>
                <c:pt idx="77">
                  <c:v>1230</c:v>
                </c:pt>
                <c:pt idx="78">
                  <c:v>146</c:v>
                </c:pt>
                <c:pt idx="79">
                  <c:v>791</c:v>
                </c:pt>
                <c:pt idx="80">
                  <c:v>963</c:v>
                </c:pt>
                <c:pt idx="81">
                  <c:v>1044</c:v>
                </c:pt>
                <c:pt idx="82">
                  <c:v>872</c:v>
                </c:pt>
                <c:pt idx="83">
                  <c:v>1756</c:v>
                </c:pt>
                <c:pt idx="84">
                  <c:v>2000</c:v>
                </c:pt>
                <c:pt idx="85">
                  <c:v>1175</c:v>
                </c:pt>
                <c:pt idx="86">
                  <c:v>423</c:v>
                </c:pt>
                <c:pt idx="87">
                  <c:v>240</c:v>
                </c:pt>
                <c:pt idx="88">
                  <c:v>115</c:v>
                </c:pt>
                <c:pt idx="89">
                  <c:v>703</c:v>
                </c:pt>
                <c:pt idx="90">
                  <c:v>922</c:v>
                </c:pt>
                <c:pt idx="91">
                  <c:v>562</c:v>
                </c:pt>
                <c:pt idx="92">
                  <c:v>90</c:v>
                </c:pt>
                <c:pt idx="93">
                  <c:v>68</c:v>
                </c:pt>
                <c:pt idx="94">
                  <c:v>51</c:v>
                </c:pt>
                <c:pt idx="95">
                  <c:v>1690</c:v>
                </c:pt>
                <c:pt idx="96">
                  <c:v>2348</c:v>
                </c:pt>
                <c:pt idx="97">
                  <c:v>255</c:v>
                </c:pt>
                <c:pt idx="98">
                  <c:v>1024</c:v>
                </c:pt>
                <c:pt idx="99">
                  <c:v>466</c:v>
                </c:pt>
                <c:pt idx="100">
                  <c:v>43</c:v>
                </c:pt>
                <c:pt idx="101">
                  <c:v>831</c:v>
                </c:pt>
                <c:pt idx="102">
                  <c:v>1304</c:v>
                </c:pt>
                <c:pt idx="103">
                  <c:v>1284</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6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809502574346388E-2"/>
          <c:y val="0.13083628337387626"/>
          <c:w val="0.96438099485130724"/>
          <c:h val="0.68926382698704391"/>
        </c:manualLayout>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5424</c:v>
                </c:pt>
                <c:pt idx="1">
                  <c:v>7694</c:v>
                </c:pt>
                <c:pt idx="2">
                  <c:v>8064</c:v>
                </c:pt>
                <c:pt idx="3">
                  <c:v>6105</c:v>
                </c:pt>
                <c:pt idx="4">
                  <c:v>4306</c:v>
                </c:pt>
                <c:pt idx="5">
                  <c:v>3336</c:v>
                </c:pt>
                <c:pt idx="6">
                  <c:v>3409</c:v>
                </c:pt>
                <c:pt idx="7">
                  <c:v>3185</c:v>
                </c:pt>
                <c:pt idx="8">
                  <c:v>3633</c:v>
                </c:pt>
                <c:pt idx="9">
                  <c:v>5065</c:v>
                </c:pt>
                <c:pt idx="10">
                  <c:v>5831</c:v>
                </c:pt>
                <c:pt idx="11">
                  <c:v>6041</c:v>
                </c:pt>
                <c:pt idx="12">
                  <c:v>5872</c:v>
                </c:pt>
                <c:pt idx="13">
                  <c:v>5386</c:v>
                </c:pt>
                <c:pt idx="14">
                  <c:v>5546</c:v>
                </c:pt>
                <c:pt idx="15">
                  <c:v>5797</c:v>
                </c:pt>
                <c:pt idx="16">
                  <c:v>3841</c:v>
                </c:pt>
                <c:pt idx="17">
                  <c:v>4474</c:v>
                </c:pt>
                <c:pt idx="18">
                  <c:v>4046</c:v>
                </c:pt>
                <c:pt idx="19">
                  <c:v>5739</c:v>
                </c:pt>
                <c:pt idx="20">
                  <c:v>4628</c:v>
                </c:pt>
                <c:pt idx="21">
                  <c:v>4043</c:v>
                </c:pt>
                <c:pt idx="22">
                  <c:v>3040</c:v>
                </c:pt>
                <c:pt idx="23">
                  <c:v>3112</c:v>
                </c:pt>
                <c:pt idx="24">
                  <c:v>2948</c:v>
                </c:pt>
                <c:pt idx="25">
                  <c:v>4052</c:v>
                </c:pt>
                <c:pt idx="26">
                  <c:v>340</c:v>
                </c:pt>
                <c:pt idx="27">
                  <c:v>406</c:v>
                </c:pt>
                <c:pt idx="28">
                  <c:v>554</c:v>
                </c:pt>
                <c:pt idx="29">
                  <c:v>3932</c:v>
                </c:pt>
                <c:pt idx="30">
                  <c:v>1999</c:v>
                </c:pt>
                <c:pt idx="31">
                  <c:v>2003</c:v>
                </c:pt>
                <c:pt idx="32">
                  <c:v>1782</c:v>
                </c:pt>
                <c:pt idx="33">
                  <c:v>2538</c:v>
                </c:pt>
                <c:pt idx="34">
                  <c:v>2795</c:v>
                </c:pt>
                <c:pt idx="35">
                  <c:v>3057</c:v>
                </c:pt>
                <c:pt idx="36">
                  <c:v>3241</c:v>
                </c:pt>
                <c:pt idx="37">
                  <c:v>2863</c:v>
                </c:pt>
                <c:pt idx="38">
                  <c:v>1742</c:v>
                </c:pt>
                <c:pt idx="39">
                  <c:v>1306</c:v>
                </c:pt>
                <c:pt idx="40">
                  <c:v>1600</c:v>
                </c:pt>
                <c:pt idx="41">
                  <c:v>3084</c:v>
                </c:pt>
                <c:pt idx="42">
                  <c:v>3587</c:v>
                </c:pt>
                <c:pt idx="43">
                  <c:v>3988</c:v>
                </c:pt>
                <c:pt idx="44">
                  <c:v>4116</c:v>
                </c:pt>
                <c:pt idx="45">
                  <c:v>4336</c:v>
                </c:pt>
                <c:pt idx="46">
                  <c:v>4213</c:v>
                </c:pt>
                <c:pt idx="47">
                  <c:v>4087</c:v>
                </c:pt>
                <c:pt idx="48">
                  <c:v>3314</c:v>
                </c:pt>
                <c:pt idx="49">
                  <c:v>3821</c:v>
                </c:pt>
                <c:pt idx="50">
                  <c:v>1905</c:v>
                </c:pt>
                <c:pt idx="51">
                  <c:v>4601</c:v>
                </c:pt>
                <c:pt idx="52">
                  <c:v>4532</c:v>
                </c:pt>
                <c:pt idx="53">
                  <c:v>4419</c:v>
                </c:pt>
                <c:pt idx="54">
                  <c:v>2489</c:v>
                </c:pt>
                <c:pt idx="55">
                  <c:v>2345</c:v>
                </c:pt>
                <c:pt idx="56">
                  <c:v>3038</c:v>
                </c:pt>
                <c:pt idx="57">
                  <c:v>4255</c:v>
                </c:pt>
                <c:pt idx="58">
                  <c:v>2925</c:v>
                </c:pt>
                <c:pt idx="59">
                  <c:v>2021</c:v>
                </c:pt>
                <c:pt idx="60">
                  <c:v>2115</c:v>
                </c:pt>
                <c:pt idx="61">
                  <c:v>4184</c:v>
                </c:pt>
                <c:pt idx="62">
                  <c:v>4940</c:v>
                </c:pt>
                <c:pt idx="63">
                  <c:v>5689</c:v>
                </c:pt>
                <c:pt idx="64">
                  <c:v>4866</c:v>
                </c:pt>
                <c:pt idx="65">
                  <c:v>4303</c:v>
                </c:pt>
                <c:pt idx="66">
                  <c:v>796</c:v>
                </c:pt>
                <c:pt idx="67">
                  <c:v>1015</c:v>
                </c:pt>
                <c:pt idx="68">
                  <c:v>575</c:v>
                </c:pt>
                <c:pt idx="69">
                  <c:v>4545</c:v>
                </c:pt>
                <c:pt idx="70">
                  <c:v>4789</c:v>
                </c:pt>
                <c:pt idx="71">
                  <c:v>4266</c:v>
                </c:pt>
                <c:pt idx="72">
                  <c:v>2262</c:v>
                </c:pt>
                <c:pt idx="73">
                  <c:v>2375</c:v>
                </c:pt>
                <c:pt idx="74">
                  <c:v>2028</c:v>
                </c:pt>
                <c:pt idx="75">
                  <c:v>2504</c:v>
                </c:pt>
                <c:pt idx="76">
                  <c:v>2759</c:v>
                </c:pt>
                <c:pt idx="77">
                  <c:v>1963</c:v>
                </c:pt>
                <c:pt idx="78">
                  <c:v>4173</c:v>
                </c:pt>
                <c:pt idx="79">
                  <c:v>2978</c:v>
                </c:pt>
                <c:pt idx="80">
                  <c:v>1941</c:v>
                </c:pt>
                <c:pt idx="81">
                  <c:v>1887</c:v>
                </c:pt>
                <c:pt idx="82">
                  <c:v>2078</c:v>
                </c:pt>
                <c:pt idx="83">
                  <c:v>3320</c:v>
                </c:pt>
                <c:pt idx="84">
                  <c:v>3041</c:v>
                </c:pt>
                <c:pt idx="85">
                  <c:v>2780</c:v>
                </c:pt>
                <c:pt idx="86">
                  <c:v>2988</c:v>
                </c:pt>
                <c:pt idx="87">
                  <c:v>2273</c:v>
                </c:pt>
                <c:pt idx="88">
                  <c:v>2301</c:v>
                </c:pt>
                <c:pt idx="89">
                  <c:v>2298</c:v>
                </c:pt>
                <c:pt idx="90">
                  <c:v>2674</c:v>
                </c:pt>
                <c:pt idx="91">
                  <c:v>2660</c:v>
                </c:pt>
                <c:pt idx="92">
                  <c:v>2819</c:v>
                </c:pt>
                <c:pt idx="93">
                  <c:v>2652</c:v>
                </c:pt>
                <c:pt idx="94">
                  <c:v>2536</c:v>
                </c:pt>
                <c:pt idx="95">
                  <c:v>2688</c:v>
                </c:pt>
                <c:pt idx="96">
                  <c:v>2415</c:v>
                </c:pt>
                <c:pt idx="97">
                  <c:v>2043</c:v>
                </c:pt>
                <c:pt idx="98">
                  <c:v>2222</c:v>
                </c:pt>
                <c:pt idx="99">
                  <c:v>2956</c:v>
                </c:pt>
                <c:pt idx="100">
                  <c:v>436</c:v>
                </c:pt>
                <c:pt idx="101">
                  <c:v>545</c:v>
                </c:pt>
                <c:pt idx="102">
                  <c:v>411</c:v>
                </c:pt>
                <c:pt idx="103">
                  <c:v>2657</c:v>
                </c:pt>
              </c:numCache>
            </c:numRef>
          </c:val>
          <c:extLst>
            <c:ext xmlns:c16="http://schemas.microsoft.com/office/drawing/2014/chart" uri="{C3380CC4-5D6E-409C-BE32-E72D297353CC}">
              <c16:uniqueId val="{00000000-AF56-4D68-85AA-5AF8664DAEE6}"/>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788</c:v>
                </c:pt>
                <c:pt idx="1">
                  <c:v>10958</c:v>
                </c:pt>
                <c:pt idx="2">
                  <c:v>13555</c:v>
                </c:pt>
                <c:pt idx="3">
                  <c:v>12297</c:v>
                </c:pt>
                <c:pt idx="4">
                  <c:v>11165</c:v>
                </c:pt>
                <c:pt idx="5">
                  <c:v>8783</c:v>
                </c:pt>
                <c:pt idx="6">
                  <c:v>9989</c:v>
                </c:pt>
                <c:pt idx="7">
                  <c:v>5529</c:v>
                </c:pt>
                <c:pt idx="8">
                  <c:v>6362</c:v>
                </c:pt>
                <c:pt idx="9">
                  <c:v>5893</c:v>
                </c:pt>
                <c:pt idx="10">
                  <c:v>2544</c:v>
                </c:pt>
                <c:pt idx="11">
                  <c:v>225</c:v>
                </c:pt>
                <c:pt idx="12">
                  <c:v>584</c:v>
                </c:pt>
                <c:pt idx="13">
                  <c:v>546</c:v>
                </c:pt>
                <c:pt idx="14">
                  <c:v>178</c:v>
                </c:pt>
                <c:pt idx="15">
                  <c:v>26</c:v>
                </c:pt>
                <c:pt idx="16">
                  <c:v>16345</c:v>
                </c:pt>
                <c:pt idx="17">
                  <c:v>18415</c:v>
                </c:pt>
                <c:pt idx="18">
                  <c:v>6514</c:v>
                </c:pt>
                <c:pt idx="19">
                  <c:v>96</c:v>
                </c:pt>
                <c:pt idx="20">
                  <c:v>4622</c:v>
                </c:pt>
                <c:pt idx="21">
                  <c:v>6267</c:v>
                </c:pt>
                <c:pt idx="22">
                  <c:v>8289</c:v>
                </c:pt>
                <c:pt idx="23">
                  <c:v>8461</c:v>
                </c:pt>
                <c:pt idx="24">
                  <c:v>3085</c:v>
                </c:pt>
                <c:pt idx="25">
                  <c:v>202</c:v>
                </c:pt>
                <c:pt idx="26">
                  <c:v>13498</c:v>
                </c:pt>
                <c:pt idx="27">
                  <c:v>17015</c:v>
                </c:pt>
                <c:pt idx="28">
                  <c:v>7966</c:v>
                </c:pt>
                <c:pt idx="29">
                  <c:v>43</c:v>
                </c:pt>
                <c:pt idx="30">
                  <c:v>8668</c:v>
                </c:pt>
                <c:pt idx="31">
                  <c:v>9714</c:v>
                </c:pt>
                <c:pt idx="32">
                  <c:v>5639</c:v>
                </c:pt>
                <c:pt idx="33">
                  <c:v>2928</c:v>
                </c:pt>
                <c:pt idx="34">
                  <c:v>1384</c:v>
                </c:pt>
                <c:pt idx="35">
                  <c:v>312</c:v>
                </c:pt>
                <c:pt idx="36">
                  <c:v>527</c:v>
                </c:pt>
                <c:pt idx="37">
                  <c:v>554</c:v>
                </c:pt>
                <c:pt idx="38">
                  <c:v>7510</c:v>
                </c:pt>
                <c:pt idx="39">
                  <c:v>10610</c:v>
                </c:pt>
                <c:pt idx="40">
                  <c:v>3797</c:v>
                </c:pt>
                <c:pt idx="41">
                  <c:v>108</c:v>
                </c:pt>
                <c:pt idx="42">
                  <c:v>112</c:v>
                </c:pt>
                <c:pt idx="43">
                  <c:v>120</c:v>
                </c:pt>
                <c:pt idx="44">
                  <c:v>64</c:v>
                </c:pt>
                <c:pt idx="45">
                  <c:v>76</c:v>
                </c:pt>
                <c:pt idx="46">
                  <c:v>54</c:v>
                </c:pt>
                <c:pt idx="47">
                  <c:v>52</c:v>
                </c:pt>
                <c:pt idx="48">
                  <c:v>12536</c:v>
                </c:pt>
                <c:pt idx="49">
                  <c:v>16121</c:v>
                </c:pt>
                <c:pt idx="50">
                  <c:v>7616</c:v>
                </c:pt>
                <c:pt idx="51">
                  <c:v>25</c:v>
                </c:pt>
                <c:pt idx="52">
                  <c:v>45</c:v>
                </c:pt>
                <c:pt idx="53">
                  <c:v>22</c:v>
                </c:pt>
                <c:pt idx="54">
                  <c:v>13220</c:v>
                </c:pt>
                <c:pt idx="55">
                  <c:v>12617</c:v>
                </c:pt>
                <c:pt idx="56">
                  <c:v>3521</c:v>
                </c:pt>
                <c:pt idx="57">
                  <c:v>56</c:v>
                </c:pt>
                <c:pt idx="58">
                  <c:v>4188</c:v>
                </c:pt>
                <c:pt idx="59">
                  <c:v>4176</c:v>
                </c:pt>
                <c:pt idx="60">
                  <c:v>5584</c:v>
                </c:pt>
                <c:pt idx="61">
                  <c:v>8227</c:v>
                </c:pt>
                <c:pt idx="62">
                  <c:v>2884</c:v>
                </c:pt>
                <c:pt idx="63">
                  <c:v>172</c:v>
                </c:pt>
                <c:pt idx="64">
                  <c:v>167</c:v>
                </c:pt>
                <c:pt idx="65">
                  <c:v>111</c:v>
                </c:pt>
                <c:pt idx="66">
                  <c:v>19061</c:v>
                </c:pt>
                <c:pt idx="67">
                  <c:v>22806</c:v>
                </c:pt>
                <c:pt idx="68">
                  <c:v>10136</c:v>
                </c:pt>
                <c:pt idx="69">
                  <c:v>275</c:v>
                </c:pt>
                <c:pt idx="70">
                  <c:v>263</c:v>
                </c:pt>
                <c:pt idx="71">
                  <c:v>280</c:v>
                </c:pt>
                <c:pt idx="72">
                  <c:v>5159</c:v>
                </c:pt>
                <c:pt idx="73">
                  <c:v>7463</c:v>
                </c:pt>
                <c:pt idx="74">
                  <c:v>6894</c:v>
                </c:pt>
                <c:pt idx="75">
                  <c:v>5402</c:v>
                </c:pt>
                <c:pt idx="76">
                  <c:v>6667</c:v>
                </c:pt>
                <c:pt idx="77">
                  <c:v>4448</c:v>
                </c:pt>
                <c:pt idx="78">
                  <c:v>2013</c:v>
                </c:pt>
                <c:pt idx="79">
                  <c:v>87</c:v>
                </c:pt>
                <c:pt idx="80">
                  <c:v>7287</c:v>
                </c:pt>
                <c:pt idx="81">
                  <c:v>10948</c:v>
                </c:pt>
                <c:pt idx="82">
                  <c:v>3570</c:v>
                </c:pt>
                <c:pt idx="83">
                  <c:v>38</c:v>
                </c:pt>
                <c:pt idx="84">
                  <c:v>10</c:v>
                </c:pt>
                <c:pt idx="85">
                  <c:v>10</c:v>
                </c:pt>
                <c:pt idx="86">
                  <c:v>703</c:v>
                </c:pt>
                <c:pt idx="87">
                  <c:v>3282</c:v>
                </c:pt>
                <c:pt idx="88">
                  <c:v>3401</c:v>
                </c:pt>
                <c:pt idx="89">
                  <c:v>1288</c:v>
                </c:pt>
                <c:pt idx="90">
                  <c:v>42</c:v>
                </c:pt>
                <c:pt idx="91">
                  <c:v>34</c:v>
                </c:pt>
                <c:pt idx="92">
                  <c:v>10</c:v>
                </c:pt>
                <c:pt idx="93">
                  <c:v>8</c:v>
                </c:pt>
                <c:pt idx="94">
                  <c:v>11610</c:v>
                </c:pt>
                <c:pt idx="95">
                  <c:v>13969</c:v>
                </c:pt>
                <c:pt idx="96">
                  <c:v>4174</c:v>
                </c:pt>
                <c:pt idx="97">
                  <c:v>9270</c:v>
                </c:pt>
                <c:pt idx="98">
                  <c:v>3242</c:v>
                </c:pt>
                <c:pt idx="99">
                  <c:v>0</c:v>
                </c:pt>
                <c:pt idx="100">
                  <c:v>9868</c:v>
                </c:pt>
                <c:pt idx="101">
                  <c:v>12410</c:v>
                </c:pt>
                <c:pt idx="102">
                  <c:v>5436</c:v>
                </c:pt>
                <c:pt idx="103">
                  <c:v>45</c:v>
                </c:pt>
              </c:numCache>
            </c:numRef>
          </c:val>
          <c:extLst>
            <c:ext xmlns:c16="http://schemas.microsoft.com/office/drawing/2014/chart" uri="{C3380CC4-5D6E-409C-BE32-E72D297353CC}">
              <c16:uniqueId val="{00000001-AF56-4D68-85AA-5AF8664DAEE6}"/>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m/yyyy" sourceLinked="0"/>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809502574346388E-2"/>
          <c:y val="0.13083628337387626"/>
          <c:w val="0.96438099485130724"/>
          <c:h val="0.68926382698704391"/>
        </c:manualLayout>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10810</c:v>
                </c:pt>
                <c:pt idx="1">
                  <c:v>10089</c:v>
                </c:pt>
                <c:pt idx="2">
                  <c:v>5121</c:v>
                </c:pt>
                <c:pt idx="3">
                  <c:v>7276</c:v>
                </c:pt>
                <c:pt idx="4">
                  <c:v>8916</c:v>
                </c:pt>
                <c:pt idx="5">
                  <c:v>9411</c:v>
                </c:pt>
                <c:pt idx="6">
                  <c:v>8041</c:v>
                </c:pt>
                <c:pt idx="7">
                  <c:v>8669</c:v>
                </c:pt>
                <c:pt idx="8">
                  <c:v>11931</c:v>
                </c:pt>
                <c:pt idx="9">
                  <c:v>8121</c:v>
                </c:pt>
                <c:pt idx="10">
                  <c:v>4572</c:v>
                </c:pt>
                <c:pt idx="11">
                  <c:v>8127</c:v>
                </c:pt>
                <c:pt idx="12">
                  <c:v>9262</c:v>
                </c:pt>
                <c:pt idx="13">
                  <c:v>8141</c:v>
                </c:pt>
                <c:pt idx="14">
                  <c:v>9018</c:v>
                </c:pt>
                <c:pt idx="15">
                  <c:v>9003</c:v>
                </c:pt>
                <c:pt idx="16">
                  <c:v>6797</c:v>
                </c:pt>
                <c:pt idx="17">
                  <c:v>4823</c:v>
                </c:pt>
                <c:pt idx="18">
                  <c:v>8083</c:v>
                </c:pt>
                <c:pt idx="19">
                  <c:v>11032</c:v>
                </c:pt>
                <c:pt idx="20">
                  <c:v>10107</c:v>
                </c:pt>
                <c:pt idx="21">
                  <c:v>8418</c:v>
                </c:pt>
                <c:pt idx="22">
                  <c:v>5994</c:v>
                </c:pt>
                <c:pt idx="23">
                  <c:v>7599</c:v>
                </c:pt>
                <c:pt idx="24">
                  <c:v>5115</c:v>
                </c:pt>
                <c:pt idx="25">
                  <c:v>3805</c:v>
                </c:pt>
                <c:pt idx="26">
                  <c:v>6006</c:v>
                </c:pt>
                <c:pt idx="27">
                  <c:v>7379</c:v>
                </c:pt>
                <c:pt idx="28">
                  <c:v>7123</c:v>
                </c:pt>
                <c:pt idx="29">
                  <c:v>7142</c:v>
                </c:pt>
                <c:pt idx="30">
                  <c:v>6877</c:v>
                </c:pt>
                <c:pt idx="31">
                  <c:v>6220</c:v>
                </c:pt>
                <c:pt idx="32">
                  <c:v>5853</c:v>
                </c:pt>
                <c:pt idx="33">
                  <c:v>6009</c:v>
                </c:pt>
                <c:pt idx="34">
                  <c:v>5303</c:v>
                </c:pt>
                <c:pt idx="35">
                  <c:v>5357</c:v>
                </c:pt>
                <c:pt idx="36">
                  <c:v>4769</c:v>
                </c:pt>
                <c:pt idx="37">
                  <c:v>2497</c:v>
                </c:pt>
                <c:pt idx="38">
                  <c:v>3398</c:v>
                </c:pt>
                <c:pt idx="39">
                  <c:v>3621</c:v>
                </c:pt>
                <c:pt idx="40">
                  <c:v>3879</c:v>
                </c:pt>
                <c:pt idx="41">
                  <c:v>4732</c:v>
                </c:pt>
                <c:pt idx="42">
                  <c:v>7308</c:v>
                </c:pt>
                <c:pt idx="43">
                  <c:v>9036</c:v>
                </c:pt>
                <c:pt idx="44">
                  <c:v>10084</c:v>
                </c:pt>
                <c:pt idx="45">
                  <c:v>9083</c:v>
                </c:pt>
                <c:pt idx="46">
                  <c:v>5482</c:v>
                </c:pt>
                <c:pt idx="47">
                  <c:v>3778</c:v>
                </c:pt>
                <c:pt idx="48">
                  <c:v>7809</c:v>
                </c:pt>
                <c:pt idx="49">
                  <c:v>7739</c:v>
                </c:pt>
                <c:pt idx="50">
                  <c:v>7596</c:v>
                </c:pt>
                <c:pt idx="51">
                  <c:v>6196</c:v>
                </c:pt>
                <c:pt idx="52">
                  <c:v>5910</c:v>
                </c:pt>
                <c:pt idx="53">
                  <c:v>3695</c:v>
                </c:pt>
                <c:pt idx="54">
                  <c:v>6430</c:v>
                </c:pt>
                <c:pt idx="55">
                  <c:v>8035</c:v>
                </c:pt>
                <c:pt idx="56">
                  <c:v>7611</c:v>
                </c:pt>
                <c:pt idx="57">
                  <c:v>9039</c:v>
                </c:pt>
                <c:pt idx="58">
                  <c:v>8087</c:v>
                </c:pt>
                <c:pt idx="59">
                  <c:v>8932</c:v>
                </c:pt>
                <c:pt idx="60">
                  <c:v>8868</c:v>
                </c:pt>
                <c:pt idx="61">
                  <c:v>13093</c:v>
                </c:pt>
                <c:pt idx="62">
                  <c:v>8128</c:v>
                </c:pt>
                <c:pt idx="63">
                  <c:v>4890</c:v>
                </c:pt>
                <c:pt idx="64">
                  <c:v>6845</c:v>
                </c:pt>
                <c:pt idx="65">
                  <c:v>8260</c:v>
                </c:pt>
                <c:pt idx="66">
                  <c:v>8951</c:v>
                </c:pt>
                <c:pt idx="67">
                  <c:v>9377</c:v>
                </c:pt>
                <c:pt idx="68">
                  <c:v>7130</c:v>
                </c:pt>
                <c:pt idx="69">
                  <c:v>4881</c:v>
                </c:pt>
                <c:pt idx="70">
                  <c:v>8326</c:v>
                </c:pt>
                <c:pt idx="71">
                  <c:v>6489</c:v>
                </c:pt>
                <c:pt idx="72">
                  <c:v>6081</c:v>
                </c:pt>
                <c:pt idx="73">
                  <c:v>7404</c:v>
                </c:pt>
                <c:pt idx="74">
                  <c:v>7204</c:v>
                </c:pt>
                <c:pt idx="75">
                  <c:v>8013</c:v>
                </c:pt>
                <c:pt idx="76">
                  <c:v>6689</c:v>
                </c:pt>
                <c:pt idx="77">
                  <c:v>6812</c:v>
                </c:pt>
                <c:pt idx="78">
                  <c:v>6117</c:v>
                </c:pt>
                <c:pt idx="79">
                  <c:v>6225</c:v>
                </c:pt>
                <c:pt idx="80">
                  <c:v>3929</c:v>
                </c:pt>
                <c:pt idx="81">
                  <c:v>2740</c:v>
                </c:pt>
                <c:pt idx="82">
                  <c:v>4127</c:v>
                </c:pt>
                <c:pt idx="83">
                  <c:v>4589</c:v>
                </c:pt>
                <c:pt idx="84">
                  <c:v>4916</c:v>
                </c:pt>
                <c:pt idx="85">
                  <c:v>5241</c:v>
                </c:pt>
                <c:pt idx="86">
                  <c:v>5137</c:v>
                </c:pt>
                <c:pt idx="87">
                  <c:v>5001</c:v>
                </c:pt>
                <c:pt idx="88">
                  <c:v>4319</c:v>
                </c:pt>
                <c:pt idx="89">
                  <c:v>4010</c:v>
                </c:pt>
                <c:pt idx="90">
                  <c:v>2753</c:v>
                </c:pt>
                <c:pt idx="91">
                  <c:v>1734</c:v>
                </c:pt>
                <c:pt idx="92">
                  <c:v>3341</c:v>
                </c:pt>
                <c:pt idx="93">
                  <c:v>5772</c:v>
                </c:pt>
                <c:pt idx="94">
                  <c:v>5197</c:v>
                </c:pt>
                <c:pt idx="95">
                  <c:v>3434</c:v>
                </c:pt>
                <c:pt idx="96">
                  <c:v>7685</c:v>
                </c:pt>
                <c:pt idx="97">
                  <c:v>4914</c:v>
                </c:pt>
                <c:pt idx="98">
                  <c:v>2971</c:v>
                </c:pt>
                <c:pt idx="99">
                  <c:v>5204</c:v>
                </c:pt>
                <c:pt idx="100">
                  <c:v>5523</c:v>
                </c:pt>
                <c:pt idx="101">
                  <c:v>5494</c:v>
                </c:pt>
                <c:pt idx="102">
                  <c:v>5440</c:v>
                </c:pt>
                <c:pt idx="103">
                  <c:v>9116</c:v>
                </c:pt>
              </c:numCache>
            </c:numRef>
          </c:val>
          <c:extLst>
            <c:ext xmlns:c16="http://schemas.microsoft.com/office/drawing/2014/chart" uri="{C3380CC4-5D6E-409C-BE32-E72D297353CC}">
              <c16:uniqueId val="{00000000-C5B4-4A23-88B4-BEBCEBE310C0}"/>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0</c:v>
                </c:pt>
                <c:pt idx="1">
                  <c:v>1916</c:v>
                </c:pt>
                <c:pt idx="2">
                  <c:v>37396</c:v>
                </c:pt>
                <c:pt idx="3">
                  <c:v>12228</c:v>
                </c:pt>
                <c:pt idx="4">
                  <c:v>142</c:v>
                </c:pt>
                <c:pt idx="5">
                  <c:v>1</c:v>
                </c:pt>
                <c:pt idx="6">
                  <c:v>0</c:v>
                </c:pt>
                <c:pt idx="7">
                  <c:v>0</c:v>
                </c:pt>
                <c:pt idx="8">
                  <c:v>0</c:v>
                </c:pt>
                <c:pt idx="9">
                  <c:v>40819</c:v>
                </c:pt>
                <c:pt idx="10">
                  <c:v>42168</c:v>
                </c:pt>
                <c:pt idx="11">
                  <c:v>6578</c:v>
                </c:pt>
                <c:pt idx="12">
                  <c:v>17192</c:v>
                </c:pt>
                <c:pt idx="13">
                  <c:v>21303</c:v>
                </c:pt>
                <c:pt idx="14">
                  <c:v>7461</c:v>
                </c:pt>
                <c:pt idx="15">
                  <c:v>43</c:v>
                </c:pt>
                <c:pt idx="16">
                  <c:v>35829</c:v>
                </c:pt>
                <c:pt idx="17">
                  <c:v>44812</c:v>
                </c:pt>
                <c:pt idx="18">
                  <c:v>14043</c:v>
                </c:pt>
                <c:pt idx="19">
                  <c:v>60</c:v>
                </c:pt>
                <c:pt idx="20">
                  <c:v>1</c:v>
                </c:pt>
                <c:pt idx="21">
                  <c:v>18875</c:v>
                </c:pt>
                <c:pt idx="22">
                  <c:v>19234</c:v>
                </c:pt>
                <c:pt idx="23">
                  <c:v>2616</c:v>
                </c:pt>
                <c:pt idx="24">
                  <c:v>20182</c:v>
                </c:pt>
                <c:pt idx="25">
                  <c:v>31984</c:v>
                </c:pt>
                <c:pt idx="26">
                  <c:v>10227</c:v>
                </c:pt>
                <c:pt idx="27">
                  <c:v>18</c:v>
                </c:pt>
                <c:pt idx="28">
                  <c:v>2</c:v>
                </c:pt>
                <c:pt idx="29">
                  <c:v>6</c:v>
                </c:pt>
                <c:pt idx="30">
                  <c:v>0</c:v>
                </c:pt>
                <c:pt idx="31">
                  <c:v>0</c:v>
                </c:pt>
                <c:pt idx="32">
                  <c:v>0</c:v>
                </c:pt>
                <c:pt idx="33">
                  <c:v>8404</c:v>
                </c:pt>
                <c:pt idx="34">
                  <c:v>9887</c:v>
                </c:pt>
                <c:pt idx="35">
                  <c:v>3098</c:v>
                </c:pt>
                <c:pt idx="36">
                  <c:v>843</c:v>
                </c:pt>
                <c:pt idx="37">
                  <c:v>19596</c:v>
                </c:pt>
                <c:pt idx="38">
                  <c:v>7044</c:v>
                </c:pt>
                <c:pt idx="39">
                  <c:v>13</c:v>
                </c:pt>
                <c:pt idx="40">
                  <c:v>7657</c:v>
                </c:pt>
                <c:pt idx="41">
                  <c:v>13687</c:v>
                </c:pt>
                <c:pt idx="42">
                  <c:v>5078</c:v>
                </c:pt>
                <c:pt idx="43">
                  <c:v>39</c:v>
                </c:pt>
                <c:pt idx="44">
                  <c:v>2</c:v>
                </c:pt>
                <c:pt idx="45">
                  <c:v>5</c:v>
                </c:pt>
                <c:pt idx="46">
                  <c:v>41369</c:v>
                </c:pt>
                <c:pt idx="47">
                  <c:v>45452</c:v>
                </c:pt>
                <c:pt idx="48">
                  <c:v>446</c:v>
                </c:pt>
                <c:pt idx="49">
                  <c:v>13</c:v>
                </c:pt>
                <c:pt idx="50">
                  <c:v>1</c:v>
                </c:pt>
                <c:pt idx="51">
                  <c:v>14926</c:v>
                </c:pt>
                <c:pt idx="52">
                  <c:v>19078</c:v>
                </c:pt>
                <c:pt idx="53">
                  <c:v>29930</c:v>
                </c:pt>
                <c:pt idx="54">
                  <c:v>9386</c:v>
                </c:pt>
                <c:pt idx="55">
                  <c:v>185</c:v>
                </c:pt>
                <c:pt idx="56">
                  <c:v>2043</c:v>
                </c:pt>
                <c:pt idx="57">
                  <c:v>759</c:v>
                </c:pt>
                <c:pt idx="58">
                  <c:v>3</c:v>
                </c:pt>
                <c:pt idx="59">
                  <c:v>1367</c:v>
                </c:pt>
                <c:pt idx="60">
                  <c:v>3691</c:v>
                </c:pt>
                <c:pt idx="61">
                  <c:v>143</c:v>
                </c:pt>
                <c:pt idx="62">
                  <c:v>25495</c:v>
                </c:pt>
                <c:pt idx="63">
                  <c:v>32467</c:v>
                </c:pt>
                <c:pt idx="64">
                  <c:v>9174</c:v>
                </c:pt>
                <c:pt idx="65">
                  <c:v>96</c:v>
                </c:pt>
                <c:pt idx="66">
                  <c:v>27</c:v>
                </c:pt>
                <c:pt idx="67">
                  <c:v>24</c:v>
                </c:pt>
                <c:pt idx="68">
                  <c:v>40521</c:v>
                </c:pt>
                <c:pt idx="69">
                  <c:v>50190</c:v>
                </c:pt>
                <c:pt idx="70">
                  <c:v>1098</c:v>
                </c:pt>
                <c:pt idx="71">
                  <c:v>10923</c:v>
                </c:pt>
                <c:pt idx="72">
                  <c:v>14964</c:v>
                </c:pt>
                <c:pt idx="73">
                  <c:v>1998</c:v>
                </c:pt>
                <c:pt idx="74">
                  <c:v>15</c:v>
                </c:pt>
                <c:pt idx="75">
                  <c:v>42</c:v>
                </c:pt>
                <c:pt idx="76">
                  <c:v>845</c:v>
                </c:pt>
                <c:pt idx="77">
                  <c:v>24891</c:v>
                </c:pt>
                <c:pt idx="78">
                  <c:v>6259</c:v>
                </c:pt>
                <c:pt idx="79">
                  <c:v>15</c:v>
                </c:pt>
                <c:pt idx="80">
                  <c:v>18834</c:v>
                </c:pt>
                <c:pt idx="81">
                  <c:v>24637</c:v>
                </c:pt>
                <c:pt idx="82">
                  <c:v>16167</c:v>
                </c:pt>
                <c:pt idx="83">
                  <c:v>9715</c:v>
                </c:pt>
                <c:pt idx="84">
                  <c:v>2894</c:v>
                </c:pt>
                <c:pt idx="85">
                  <c:v>6</c:v>
                </c:pt>
                <c:pt idx="86">
                  <c:v>0</c:v>
                </c:pt>
                <c:pt idx="87">
                  <c:v>0</c:v>
                </c:pt>
                <c:pt idx="88">
                  <c:v>0</c:v>
                </c:pt>
                <c:pt idx="89">
                  <c:v>0</c:v>
                </c:pt>
                <c:pt idx="90">
                  <c:v>10681</c:v>
                </c:pt>
                <c:pt idx="91">
                  <c:v>13812</c:v>
                </c:pt>
                <c:pt idx="92">
                  <c:v>4483</c:v>
                </c:pt>
                <c:pt idx="93">
                  <c:v>17</c:v>
                </c:pt>
                <c:pt idx="94">
                  <c:v>38881</c:v>
                </c:pt>
                <c:pt idx="95">
                  <c:v>41220</c:v>
                </c:pt>
                <c:pt idx="96">
                  <c:v>398</c:v>
                </c:pt>
                <c:pt idx="97">
                  <c:v>22261</c:v>
                </c:pt>
                <c:pt idx="98">
                  <c:v>25702</c:v>
                </c:pt>
                <c:pt idx="99">
                  <c:v>3715</c:v>
                </c:pt>
                <c:pt idx="100">
                  <c:v>10</c:v>
                </c:pt>
                <c:pt idx="101">
                  <c:v>2</c:v>
                </c:pt>
                <c:pt idx="102">
                  <c:v>0</c:v>
                </c:pt>
                <c:pt idx="103">
                  <c:v>0</c:v>
                </c:pt>
              </c:numCache>
            </c:numRef>
          </c:val>
          <c:extLst>
            <c:ext xmlns:c16="http://schemas.microsoft.com/office/drawing/2014/chart" uri="{C3380CC4-5D6E-409C-BE32-E72D297353CC}">
              <c16:uniqueId val="{00000001-C5B4-4A23-88B4-BEBCEBE310C0}"/>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m/yyyy" sourceLinked="0"/>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0"/>
            <c:dispEq val="0"/>
          </c:trendline>
          <c:xVal>
            <c:numRef>
              <c:f>Sheet1!$A$2:$A$49</c:f>
              <c:numCache>
                <c:formatCode>0%</c:formatCode>
                <c:ptCount val="48"/>
                <c:pt idx="0">
                  <c:v>0.47</c:v>
                </c:pt>
                <c:pt idx="1">
                  <c:v>0.22</c:v>
                </c:pt>
                <c:pt idx="2">
                  <c:v>0.5</c:v>
                </c:pt>
                <c:pt idx="3">
                  <c:v>0.39</c:v>
                </c:pt>
                <c:pt idx="4">
                  <c:v>0.19</c:v>
                </c:pt>
                <c:pt idx="5">
                  <c:v>0.25</c:v>
                </c:pt>
                <c:pt idx="6">
                  <c:v>0.11</c:v>
                </c:pt>
                <c:pt idx="7">
                  <c:v>0.2</c:v>
                </c:pt>
                <c:pt idx="8">
                  <c:v>0.22</c:v>
                </c:pt>
                <c:pt idx="9">
                  <c:v>0.27</c:v>
                </c:pt>
                <c:pt idx="10">
                  <c:v>0.3</c:v>
                </c:pt>
                <c:pt idx="11">
                  <c:v>0.23</c:v>
                </c:pt>
                <c:pt idx="12">
                  <c:v>0.36</c:v>
                </c:pt>
                <c:pt idx="13">
                  <c:v>0.34</c:v>
                </c:pt>
                <c:pt idx="14">
                  <c:v>0.22</c:v>
                </c:pt>
                <c:pt idx="15">
                  <c:v>0.26</c:v>
                </c:pt>
                <c:pt idx="16">
                  <c:v>0.22</c:v>
                </c:pt>
                <c:pt idx="17">
                  <c:v>0.31</c:v>
                </c:pt>
                <c:pt idx="18">
                  <c:v>0.24</c:v>
                </c:pt>
                <c:pt idx="19">
                  <c:v>0.06</c:v>
                </c:pt>
                <c:pt idx="20">
                  <c:v>0.23</c:v>
                </c:pt>
                <c:pt idx="21">
                  <c:v>0.28000000000000003</c:v>
                </c:pt>
                <c:pt idx="22">
                  <c:v>0.45</c:v>
                </c:pt>
                <c:pt idx="23">
                  <c:v>0.39</c:v>
                </c:pt>
                <c:pt idx="24">
                  <c:v>0.52</c:v>
                </c:pt>
                <c:pt idx="25">
                  <c:v>0.24</c:v>
                </c:pt>
                <c:pt idx="26">
                  <c:v>0.39</c:v>
                </c:pt>
                <c:pt idx="27">
                  <c:v>0.25</c:v>
                </c:pt>
                <c:pt idx="28">
                  <c:v>0.36</c:v>
                </c:pt>
                <c:pt idx="29">
                  <c:v>0.27</c:v>
                </c:pt>
                <c:pt idx="30">
                  <c:v>0.18</c:v>
                </c:pt>
                <c:pt idx="31">
                  <c:v>0.25</c:v>
                </c:pt>
                <c:pt idx="32">
                  <c:v>0.15</c:v>
                </c:pt>
                <c:pt idx="33">
                  <c:v>0.46</c:v>
                </c:pt>
                <c:pt idx="34">
                  <c:v>0.26</c:v>
                </c:pt>
                <c:pt idx="35">
                  <c:v>0.18</c:v>
                </c:pt>
                <c:pt idx="36">
                  <c:v>0.13</c:v>
                </c:pt>
                <c:pt idx="37">
                  <c:v>0.15</c:v>
                </c:pt>
                <c:pt idx="38">
                  <c:v>0.47</c:v>
                </c:pt>
                <c:pt idx="39">
                  <c:v>0.33</c:v>
                </c:pt>
                <c:pt idx="40">
                  <c:v>0.06</c:v>
                </c:pt>
                <c:pt idx="41">
                  <c:v>0.08</c:v>
                </c:pt>
                <c:pt idx="42">
                  <c:v>0.14000000000000001</c:v>
                </c:pt>
                <c:pt idx="43">
                  <c:v>0.13</c:v>
                </c:pt>
                <c:pt idx="44">
                  <c:v>0.14000000000000001</c:v>
                </c:pt>
                <c:pt idx="45">
                  <c:v>0.06</c:v>
                </c:pt>
                <c:pt idx="46">
                  <c:v>0.23</c:v>
                </c:pt>
                <c:pt idx="47">
                  <c:v>0.09</c:v>
                </c:pt>
              </c:numCache>
            </c:num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0"/>
            <c:dispEq val="0"/>
          </c:trendline>
          <c:xVal>
            <c:strRef>
              <c:f>Sheet1!$A$2:$A$49</c:f>
              <c:strCache>
                <c:ptCount val="48"/>
                <c:pt idx="0">
                  <c:v>$1.99</c:v>
                </c:pt>
                <c:pt idx="1">
                  <c:v>$2.98</c:v>
                </c:pt>
                <c:pt idx="2">
                  <c:v>$1.99</c:v>
                </c:pt>
                <c:pt idx="3">
                  <c:v>$2.50</c:v>
                </c:pt>
                <c:pt idx="4">
                  <c:v>$3.01</c:v>
                </c:pt>
                <c:pt idx="5">
                  <c:v>$2.98</c:v>
                </c:pt>
                <c:pt idx="6">
                  <c:v>$3.01</c:v>
                </c:pt>
                <c:pt idx="7">
                  <c:v>$3.01</c:v>
                </c:pt>
                <c:pt idx="8">
                  <c:v>$2.98</c:v>
                </c:pt>
                <c:pt idx="9">
                  <c:v>$2.99</c:v>
                </c:pt>
                <c:pt idx="10">
                  <c:v>$2.98</c:v>
                </c:pt>
                <c:pt idx="11">
                  <c:v>$2.99</c:v>
                </c:pt>
                <c:pt idx="12">
                  <c:v>$3.02</c:v>
                </c:pt>
                <c:pt idx="13">
                  <c:v>$2.51</c:v>
                </c:pt>
                <c:pt idx="14">
                  <c:v>$3.01</c:v>
                </c:pt>
                <c:pt idx="15">
                  <c:v>$2.51</c:v>
                </c:pt>
                <c:pt idx="16">
                  <c:v>$2.94</c:v>
                </c:pt>
                <c:pt idx="17">
                  <c:v>$2.51</c:v>
                </c:pt>
                <c:pt idx="18">
                  <c:v>$2.53</c:v>
                </c:pt>
                <c:pt idx="19">
                  <c:v>$3.16</c:v>
                </c:pt>
                <c:pt idx="20">
                  <c:v>$2.50</c:v>
                </c:pt>
                <c:pt idx="21">
                  <c:v>$2.52</c:v>
                </c:pt>
                <c:pt idx="22">
                  <c:v>$2.51</c:v>
                </c:pt>
                <c:pt idx="23">
                  <c:v>$2.49</c:v>
                </c:pt>
                <c:pt idx="24">
                  <c:v>$2.00</c:v>
                </c:pt>
                <c:pt idx="25">
                  <c:v>$3.01</c:v>
                </c:pt>
                <c:pt idx="26">
                  <c:v>$2.50</c:v>
                </c:pt>
                <c:pt idx="27">
                  <c:v>$2.97</c:v>
                </c:pt>
                <c:pt idx="28">
                  <c:v>$3.01</c:v>
                </c:pt>
                <c:pt idx="29">
                  <c:v>$3.02</c:v>
                </c:pt>
                <c:pt idx="30">
                  <c:v>$3.02</c:v>
                </c:pt>
                <c:pt idx="31">
                  <c:v>$2.99</c:v>
                </c:pt>
                <c:pt idx="32">
                  <c:v>$3.01</c:v>
                </c:pt>
                <c:pt idx="33">
                  <c:v>$1.99</c:v>
                </c:pt>
                <c:pt idx="34">
                  <c:v>$3.01</c:v>
                </c:pt>
                <c:pt idx="35">
                  <c:v>$2.98</c:v>
                </c:pt>
                <c:pt idx="36">
                  <c:v>$2.97</c:v>
                </c:pt>
                <c:pt idx="37">
                  <c:v>$2.50</c:v>
                </c:pt>
                <c:pt idx="38">
                  <c:v>$2.47</c:v>
                </c:pt>
                <c:pt idx="39">
                  <c:v>$3.00</c:v>
                </c:pt>
                <c:pt idx="40">
                  <c:v>$2.96</c:v>
                </c:pt>
                <c:pt idx="41">
                  <c:v>$2.50</c:v>
                </c:pt>
                <c:pt idx="42">
                  <c:v>$2.96</c:v>
                </c:pt>
                <c:pt idx="43">
                  <c:v>$2.48</c:v>
                </c:pt>
                <c:pt idx="44">
                  <c:v>$2.52</c:v>
                </c:pt>
                <c:pt idx="45">
                  <c:v>$3.09</c:v>
                </c:pt>
                <c:pt idx="46">
                  <c:v>$2.51</c:v>
                </c:pt>
                <c:pt idx="47">
                  <c:v>$3.13</c:v>
                </c:pt>
              </c:strCache>
            </c:str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Promo Price/Unit</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quot;CHF&quot;\ #,##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66017885023071499"/>
        </c:manualLayout>
      </c:layout>
      <c:barChart>
        <c:barDir val="col"/>
        <c:grouping val="clustered"/>
        <c:varyColors val="0"/>
        <c:ser>
          <c:idx val="3"/>
          <c:order val="0"/>
          <c:tx>
            <c:strRef>
              <c:f>Sheet1!$E$1</c:f>
              <c:strCache>
                <c:ptCount val="1"/>
                <c:pt idx="0">
                  <c:v>Rgb</c:v>
                </c:pt>
              </c:strCache>
            </c:strRef>
          </c:tx>
          <c:spPr>
            <a:solidFill>
              <a:schemeClr val="bg2"/>
            </a:solidFill>
          </c:spPr>
          <c:invertIfNegative val="0"/>
          <c:cat>
            <c:numRef>
              <c:f>Sheet1!$A$2:$A$37</c:f>
              <c:numCache>
                <c:formatCode>mmm\-yy</c:formatCode>
                <c:ptCount val="36"/>
                <c:pt idx="0">
                  <c:v>44317</c:v>
                </c:pt>
                <c:pt idx="1">
                  <c:v>44348</c:v>
                </c:pt>
                <c:pt idx="2">
                  <c:v>44378</c:v>
                </c:pt>
                <c:pt idx="3">
                  <c:v>44409</c:v>
                </c:pt>
                <c:pt idx="4">
                  <c:v>44440</c:v>
                </c:pt>
                <c:pt idx="5">
                  <c:v>44470</c:v>
                </c:pt>
                <c:pt idx="6">
                  <c:v>44501</c:v>
                </c:pt>
                <c:pt idx="7">
                  <c:v>44531</c:v>
                </c:pt>
                <c:pt idx="8">
                  <c:v>44562</c:v>
                </c:pt>
                <c:pt idx="9">
                  <c:v>44593</c:v>
                </c:pt>
                <c:pt idx="10">
                  <c:v>44621</c:v>
                </c:pt>
                <c:pt idx="11">
                  <c:v>44652</c:v>
                </c:pt>
                <c:pt idx="12">
                  <c:v>44682</c:v>
                </c:pt>
                <c:pt idx="13">
                  <c:v>44713</c:v>
                </c:pt>
                <c:pt idx="14">
                  <c:v>44743</c:v>
                </c:pt>
                <c:pt idx="15">
                  <c:v>44774</c:v>
                </c:pt>
                <c:pt idx="16">
                  <c:v>44805</c:v>
                </c:pt>
                <c:pt idx="17">
                  <c:v>44835</c:v>
                </c:pt>
                <c:pt idx="18">
                  <c:v>44866</c:v>
                </c:pt>
                <c:pt idx="19">
                  <c:v>44896</c:v>
                </c:pt>
                <c:pt idx="20">
                  <c:v>44927</c:v>
                </c:pt>
                <c:pt idx="21">
                  <c:v>44958</c:v>
                </c:pt>
                <c:pt idx="22">
                  <c:v>44986</c:v>
                </c:pt>
                <c:pt idx="23">
                  <c:v>45017</c:v>
                </c:pt>
                <c:pt idx="24">
                  <c:v>45047</c:v>
                </c:pt>
                <c:pt idx="25">
                  <c:v>45078</c:v>
                </c:pt>
                <c:pt idx="26">
                  <c:v>45108</c:v>
                </c:pt>
                <c:pt idx="27">
                  <c:v>45139</c:v>
                </c:pt>
                <c:pt idx="28">
                  <c:v>45170</c:v>
                </c:pt>
                <c:pt idx="29">
                  <c:v>45200</c:v>
                </c:pt>
                <c:pt idx="30">
                  <c:v>45231</c:v>
                </c:pt>
                <c:pt idx="31">
                  <c:v>45261</c:v>
                </c:pt>
                <c:pt idx="32">
                  <c:v>45292</c:v>
                </c:pt>
                <c:pt idx="33">
                  <c:v>45323</c:v>
                </c:pt>
                <c:pt idx="34">
                  <c:v>45352</c:v>
                </c:pt>
                <c:pt idx="35">
                  <c:v>45383</c:v>
                </c:pt>
              </c:numCache>
            </c:numRef>
          </c:cat>
          <c:val>
            <c:numRef>
              <c:f>Sheet1!$E$2:$E$37</c:f>
              <c:numCache>
                <c:formatCode>0%</c:formatCode>
                <c:ptCount val="36"/>
                <c:pt idx="0">
                  <c:v>0.87107203749471396</c:v>
                </c:pt>
                <c:pt idx="1">
                  <c:v>1.0344363806118404</c:v>
                </c:pt>
                <c:pt idx="2">
                  <c:v>1.2601633524016127</c:v>
                </c:pt>
                <c:pt idx="3">
                  <c:v>1.3627976986037396</c:v>
                </c:pt>
                <c:pt idx="4">
                  <c:v>1.2202875158715509</c:v>
                </c:pt>
                <c:pt idx="5">
                  <c:v>1.0713205348358339</c:v>
                </c:pt>
                <c:pt idx="6">
                  <c:v>0.88686239619905938</c:v>
                </c:pt>
                <c:pt idx="7">
                  <c:v>0.82221746425573949</c:v>
                </c:pt>
                <c:pt idx="8">
                  <c:v>0.80198503922554676</c:v>
                </c:pt>
                <c:pt idx="9">
                  <c:v>0.72425246070241345</c:v>
                </c:pt>
                <c:pt idx="10">
                  <c:v>0.83353852711319731</c:v>
                </c:pt>
                <c:pt idx="11">
                  <c:v>0.90504107573383308</c:v>
                </c:pt>
                <c:pt idx="12">
                  <c:v>1.0648596785756976</c:v>
                </c:pt>
                <c:pt idx="13">
                  <c:v>1.1429182674521738</c:v>
                </c:pt>
                <c:pt idx="14">
                  <c:v>1.3243488698973651</c:v>
                </c:pt>
                <c:pt idx="15">
                  <c:v>1.3750152791224761</c:v>
                </c:pt>
                <c:pt idx="16">
                  <c:v>1.156841109697724</c:v>
                </c:pt>
                <c:pt idx="17">
                  <c:v>1.0006453139281486</c:v>
                </c:pt>
                <c:pt idx="18">
                  <c:v>0.86514468978864889</c:v>
                </c:pt>
                <c:pt idx="19">
                  <c:v>0.80540968876277463</c:v>
                </c:pt>
                <c:pt idx="20">
                  <c:v>0.82336031811926291</c:v>
                </c:pt>
                <c:pt idx="21">
                  <c:v>0.72409875054013229</c:v>
                </c:pt>
                <c:pt idx="22">
                  <c:v>0.83523840577987774</c:v>
                </c:pt>
                <c:pt idx="23">
                  <c:v>0.89331924566836185</c:v>
                </c:pt>
                <c:pt idx="24">
                  <c:v>0.99990218460873759</c:v>
                </c:pt>
                <c:pt idx="25">
                  <c:v>1.0453101340803421</c:v>
                </c:pt>
                <c:pt idx="26">
                  <c:v>1.2514262680387314</c:v>
                </c:pt>
                <c:pt idx="27">
                  <c:v>1.3287208756121829</c:v>
                </c:pt>
                <c:pt idx="28">
                  <c:v>1.2365881053427494</c:v>
                </c:pt>
                <c:pt idx="29">
                  <c:v>1.0600662393602704</c:v>
                </c:pt>
                <c:pt idx="30">
                  <c:v>0.90491416409554304</c:v>
                </c:pt>
                <c:pt idx="31">
                  <c:v>0.89705530875380812</c:v>
                </c:pt>
                <c:pt idx="32">
                  <c:v>1.0222725248009743</c:v>
                </c:pt>
                <c:pt idx="33">
                  <c:v>0.95909209041551757</c:v>
                </c:pt>
                <c:pt idx="34">
                  <c:v>0.97869681632891614</c:v>
                </c:pt>
                <c:pt idx="35">
                  <c:v>1.0399385684545921</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G$1</c:f>
              <c:strCache>
                <c:ptCount val="1"/>
                <c:pt idx="0">
                  <c:v>Small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G$2:$G$37</c:f>
              <c:numCache>
                <c:formatCode>0%</c:formatCode>
                <c:ptCount val="36"/>
                <c:pt idx="0">
                  <c:v>0.9636844996456132</c:v>
                </c:pt>
                <c:pt idx="1">
                  <c:v>1.0460366940388319</c:v>
                </c:pt>
                <c:pt idx="2">
                  <c:v>1.206116351645163</c:v>
                </c:pt>
                <c:pt idx="3">
                  <c:v>1.2983131053207304</c:v>
                </c:pt>
                <c:pt idx="4">
                  <c:v>1.1358603251460164</c:v>
                </c:pt>
                <c:pt idx="5">
                  <c:v>0.9702994879909782</c:v>
                </c:pt>
                <c:pt idx="6">
                  <c:v>0.85871354305643566</c:v>
                </c:pt>
                <c:pt idx="7">
                  <c:v>0.8056932104732506</c:v>
                </c:pt>
                <c:pt idx="8">
                  <c:v>0.77400606192522703</c:v>
                </c:pt>
                <c:pt idx="9">
                  <c:v>0.74539979888853203</c:v>
                </c:pt>
                <c:pt idx="10">
                  <c:v>0.86961761722764874</c:v>
                </c:pt>
                <c:pt idx="11">
                  <c:v>0.91340763521759294</c:v>
                </c:pt>
                <c:pt idx="12">
                  <c:v>1.0968873056153734</c:v>
                </c:pt>
                <c:pt idx="13">
                  <c:v>1.121420955790694</c:v>
                </c:pt>
                <c:pt idx="14">
                  <c:v>1.2937617960728616</c:v>
                </c:pt>
                <c:pt idx="15">
                  <c:v>1.3365071579810675</c:v>
                </c:pt>
                <c:pt idx="16">
                  <c:v>1.0661333313576895</c:v>
                </c:pt>
                <c:pt idx="17">
                  <c:v>1.0286682748202165</c:v>
                </c:pt>
                <c:pt idx="18">
                  <c:v>0.917528066601354</c:v>
                </c:pt>
                <c:pt idx="19">
                  <c:v>0.83666199850174361</c:v>
                </c:pt>
                <c:pt idx="20">
                  <c:v>0.78742626362763024</c:v>
                </c:pt>
                <c:pt idx="21">
                  <c:v>0.72135732236310157</c:v>
                </c:pt>
                <c:pt idx="22">
                  <c:v>0.81876857082936849</c:v>
                </c:pt>
                <c:pt idx="23">
                  <c:v>0.90068396403738837</c:v>
                </c:pt>
                <c:pt idx="24">
                  <c:v>1.0445500290499452</c:v>
                </c:pt>
                <c:pt idx="25">
                  <c:v>1.1062416580562486</c:v>
                </c:pt>
                <c:pt idx="26">
                  <c:v>1.2463776939126952</c:v>
                </c:pt>
                <c:pt idx="27">
                  <c:v>1.2903894899928463</c:v>
                </c:pt>
                <c:pt idx="28">
                  <c:v>1.2257337319182346</c:v>
                </c:pt>
                <c:pt idx="29">
                  <c:v>1.0577699208953182</c:v>
                </c:pt>
                <c:pt idx="30">
                  <c:v>0.9524340069307804</c:v>
                </c:pt>
                <c:pt idx="31">
                  <c:v>0.84826734838644213</c:v>
                </c:pt>
                <c:pt idx="32">
                  <c:v>0.89679248713136817</c:v>
                </c:pt>
                <c:pt idx="33">
                  <c:v>1.025789386864326</c:v>
                </c:pt>
                <c:pt idx="34">
                  <c:v>0.94290053485836289</c:v>
                </c:pt>
                <c:pt idx="35">
                  <c:v>1.1345175911459429</c:v>
                </c:pt>
              </c:numCache>
            </c:numRef>
          </c:val>
          <c:extLst>
            <c:ext xmlns:c16="http://schemas.microsoft.com/office/drawing/2014/chart" uri="{C3380CC4-5D6E-409C-BE32-E72D297353CC}">
              <c16:uniqueId val="{00000003-6A07-40C1-B975-BA44DDF9A40C}"/>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66017885023071499"/>
        </c:manualLayout>
      </c:layout>
      <c:barChart>
        <c:barDir val="col"/>
        <c:grouping val="clustered"/>
        <c:varyColors val="0"/>
        <c:ser>
          <c:idx val="3"/>
          <c:order val="0"/>
          <c:tx>
            <c:strRef>
              <c:f>Sheet1!$E$1</c:f>
              <c:strCache>
                <c:ptCount val="1"/>
                <c:pt idx="0">
                  <c:v>Rgb</c:v>
                </c:pt>
              </c:strCache>
            </c:strRef>
          </c:tx>
          <c:spPr>
            <a:solidFill>
              <a:schemeClr val="bg2"/>
            </a:solidFill>
          </c:spPr>
          <c:invertIfNegative val="0"/>
          <c:cat>
            <c:numRef>
              <c:f>Sheet1!$A$2:$A$37</c:f>
              <c:numCache>
                <c:formatCode>mmm\-yy</c:formatCode>
                <c:ptCount val="36"/>
                <c:pt idx="0">
                  <c:v>44317</c:v>
                </c:pt>
                <c:pt idx="1">
                  <c:v>44348</c:v>
                </c:pt>
                <c:pt idx="2">
                  <c:v>44378</c:v>
                </c:pt>
                <c:pt idx="3">
                  <c:v>44409</c:v>
                </c:pt>
                <c:pt idx="4">
                  <c:v>44440</c:v>
                </c:pt>
                <c:pt idx="5">
                  <c:v>44470</c:v>
                </c:pt>
                <c:pt idx="6">
                  <c:v>44501</c:v>
                </c:pt>
                <c:pt idx="7">
                  <c:v>44531</c:v>
                </c:pt>
                <c:pt idx="8">
                  <c:v>44562</c:v>
                </c:pt>
                <c:pt idx="9">
                  <c:v>44593</c:v>
                </c:pt>
                <c:pt idx="10">
                  <c:v>44621</c:v>
                </c:pt>
                <c:pt idx="11">
                  <c:v>44652</c:v>
                </c:pt>
                <c:pt idx="12">
                  <c:v>44682</c:v>
                </c:pt>
                <c:pt idx="13">
                  <c:v>44713</c:v>
                </c:pt>
                <c:pt idx="14">
                  <c:v>44743</c:v>
                </c:pt>
                <c:pt idx="15">
                  <c:v>44774</c:v>
                </c:pt>
                <c:pt idx="16">
                  <c:v>44805</c:v>
                </c:pt>
                <c:pt idx="17">
                  <c:v>44835</c:v>
                </c:pt>
                <c:pt idx="18">
                  <c:v>44866</c:v>
                </c:pt>
                <c:pt idx="19">
                  <c:v>44896</c:v>
                </c:pt>
                <c:pt idx="20">
                  <c:v>44927</c:v>
                </c:pt>
                <c:pt idx="21">
                  <c:v>44958</c:v>
                </c:pt>
                <c:pt idx="22">
                  <c:v>44986</c:v>
                </c:pt>
                <c:pt idx="23">
                  <c:v>45017</c:v>
                </c:pt>
                <c:pt idx="24">
                  <c:v>45047</c:v>
                </c:pt>
                <c:pt idx="25">
                  <c:v>45078</c:v>
                </c:pt>
                <c:pt idx="26">
                  <c:v>45108</c:v>
                </c:pt>
                <c:pt idx="27">
                  <c:v>45139</c:v>
                </c:pt>
                <c:pt idx="28">
                  <c:v>45170</c:v>
                </c:pt>
                <c:pt idx="29">
                  <c:v>45200</c:v>
                </c:pt>
                <c:pt idx="30">
                  <c:v>45231</c:v>
                </c:pt>
                <c:pt idx="31">
                  <c:v>45261</c:v>
                </c:pt>
                <c:pt idx="32">
                  <c:v>45292</c:v>
                </c:pt>
                <c:pt idx="33">
                  <c:v>45323</c:v>
                </c:pt>
                <c:pt idx="34">
                  <c:v>45352</c:v>
                </c:pt>
                <c:pt idx="35">
                  <c:v>45383</c:v>
                </c:pt>
              </c:numCache>
            </c:numRef>
          </c:cat>
          <c:val>
            <c:numRef>
              <c:f>Sheet1!$E$2:$E$37</c:f>
              <c:numCache>
                <c:formatCode>0%</c:formatCode>
                <c:ptCount val="36"/>
                <c:pt idx="0">
                  <c:v>0.87107203749471396</c:v>
                </c:pt>
                <c:pt idx="1">
                  <c:v>1.0344363806118404</c:v>
                </c:pt>
                <c:pt idx="2">
                  <c:v>1.2601633524016127</c:v>
                </c:pt>
                <c:pt idx="3">
                  <c:v>1.3627976986037396</c:v>
                </c:pt>
                <c:pt idx="4">
                  <c:v>1.2202875158715509</c:v>
                </c:pt>
                <c:pt idx="5">
                  <c:v>1.0713205348358339</c:v>
                </c:pt>
                <c:pt idx="6">
                  <c:v>0.88686239619905938</c:v>
                </c:pt>
                <c:pt idx="7">
                  <c:v>0.82221746425573949</c:v>
                </c:pt>
                <c:pt idx="8">
                  <c:v>0.80198503922554676</c:v>
                </c:pt>
                <c:pt idx="9">
                  <c:v>0.72425246070241345</c:v>
                </c:pt>
                <c:pt idx="10">
                  <c:v>0.83353852711319731</c:v>
                </c:pt>
                <c:pt idx="11">
                  <c:v>0.90504107573383308</c:v>
                </c:pt>
                <c:pt idx="12">
                  <c:v>1.0648596785756976</c:v>
                </c:pt>
                <c:pt idx="13">
                  <c:v>1.1429182674521738</c:v>
                </c:pt>
                <c:pt idx="14">
                  <c:v>1.3243488698973651</c:v>
                </c:pt>
                <c:pt idx="15">
                  <c:v>1.3750152791224761</c:v>
                </c:pt>
                <c:pt idx="16">
                  <c:v>1.156841109697724</c:v>
                </c:pt>
                <c:pt idx="17">
                  <c:v>1.0006453139281486</c:v>
                </c:pt>
                <c:pt idx="18">
                  <c:v>0.86514468978864889</c:v>
                </c:pt>
                <c:pt idx="19">
                  <c:v>0.80540968876277463</c:v>
                </c:pt>
                <c:pt idx="20">
                  <c:v>0.82336031811926291</c:v>
                </c:pt>
                <c:pt idx="21">
                  <c:v>0.72409875054013229</c:v>
                </c:pt>
                <c:pt idx="22">
                  <c:v>0.83523840577987774</c:v>
                </c:pt>
                <c:pt idx="23">
                  <c:v>0.89331924566836185</c:v>
                </c:pt>
                <c:pt idx="24">
                  <c:v>0.99990218460873759</c:v>
                </c:pt>
                <c:pt idx="25">
                  <c:v>1.0453101340803421</c:v>
                </c:pt>
                <c:pt idx="26">
                  <c:v>1.2514262680387314</c:v>
                </c:pt>
                <c:pt idx="27">
                  <c:v>1.3287208756121829</c:v>
                </c:pt>
                <c:pt idx="28">
                  <c:v>1.2365881053427494</c:v>
                </c:pt>
                <c:pt idx="29">
                  <c:v>1.0600662393602704</c:v>
                </c:pt>
                <c:pt idx="30">
                  <c:v>0.90491416409554304</c:v>
                </c:pt>
                <c:pt idx="31">
                  <c:v>0.89705530875380812</c:v>
                </c:pt>
                <c:pt idx="32">
                  <c:v>1.0222725248009743</c:v>
                </c:pt>
                <c:pt idx="33">
                  <c:v>0.95909209041551757</c:v>
                </c:pt>
                <c:pt idx="34">
                  <c:v>0.97869681632891614</c:v>
                </c:pt>
                <c:pt idx="35">
                  <c:v>1.0399385684545921</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C$1</c:f>
              <c:strCache>
                <c:ptCount val="1"/>
                <c:pt idx="0">
                  <c:v>Big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C$2:$C$37</c:f>
              <c:numCache>
                <c:formatCode>0%</c:formatCode>
                <c:ptCount val="36"/>
                <c:pt idx="0">
                  <c:v>0.97769335396900214</c:v>
                </c:pt>
                <c:pt idx="1">
                  <c:v>1.0684026941505411</c:v>
                </c:pt>
                <c:pt idx="2">
                  <c:v>1.227788338650863</c:v>
                </c:pt>
                <c:pt idx="3">
                  <c:v>1.2600249267555805</c:v>
                </c:pt>
                <c:pt idx="4">
                  <c:v>1.0918592645087959</c:v>
                </c:pt>
                <c:pt idx="5">
                  <c:v>0.95771669383942326</c:v>
                </c:pt>
                <c:pt idx="6">
                  <c:v>0.83219611340774713</c:v>
                </c:pt>
                <c:pt idx="7">
                  <c:v>0.81834298268274142</c:v>
                </c:pt>
                <c:pt idx="8">
                  <c:v>0.88385620277610388</c:v>
                </c:pt>
                <c:pt idx="9">
                  <c:v>0.80517208351256697</c:v>
                </c:pt>
                <c:pt idx="10">
                  <c:v>0.9015653700076367</c:v>
                </c:pt>
                <c:pt idx="11">
                  <c:v>0.96767243413039483</c:v>
                </c:pt>
                <c:pt idx="12">
                  <c:v>1.1135997973792224</c:v>
                </c:pt>
                <c:pt idx="13">
                  <c:v>1.1319284492778312</c:v>
                </c:pt>
                <c:pt idx="14">
                  <c:v>1.2471325483184159</c:v>
                </c:pt>
                <c:pt idx="15">
                  <c:v>1.2700266471810697</c:v>
                </c:pt>
                <c:pt idx="16">
                  <c:v>1.0558129473154825</c:v>
                </c:pt>
                <c:pt idx="17">
                  <c:v>0.96994353867049321</c:v>
                </c:pt>
                <c:pt idx="18">
                  <c:v>0.82763802860581237</c:v>
                </c:pt>
                <c:pt idx="19">
                  <c:v>0.82565195282496984</c:v>
                </c:pt>
                <c:pt idx="20">
                  <c:v>0.8734375393789986</c:v>
                </c:pt>
                <c:pt idx="21">
                  <c:v>0.77022486702200921</c:v>
                </c:pt>
                <c:pt idx="22">
                  <c:v>0.86712822471444584</c:v>
                </c:pt>
                <c:pt idx="23">
                  <c:v>0.92604347311977919</c:v>
                </c:pt>
                <c:pt idx="24">
                  <c:v>1.0342509203635326</c:v>
                </c:pt>
                <c:pt idx="25">
                  <c:v>1.0937835038941166</c:v>
                </c:pt>
                <c:pt idx="26">
                  <c:v>1.2287083096919564</c:v>
                </c:pt>
                <c:pt idx="27">
                  <c:v>1.3004179911042999</c:v>
                </c:pt>
                <c:pt idx="28">
                  <c:v>1.1552634977634784</c:v>
                </c:pt>
                <c:pt idx="29">
                  <c:v>0.98258002329880667</c:v>
                </c:pt>
                <c:pt idx="30">
                  <c:v>0.86772511051917489</c:v>
                </c:pt>
                <c:pt idx="31">
                  <c:v>0.90043653912940158</c:v>
                </c:pt>
                <c:pt idx="32">
                  <c:v>0.93139931325784975</c:v>
                </c:pt>
                <c:pt idx="33">
                  <c:v>0.96374922439900401</c:v>
                </c:pt>
                <c:pt idx="34">
                  <c:v>1.0313290190154365</c:v>
                </c:pt>
                <c:pt idx="35">
                  <c:v>1.0735224433277097</c:v>
                </c:pt>
              </c:numCache>
            </c:numRef>
          </c:val>
          <c:extLst>
            <c:ext xmlns:c16="http://schemas.microsoft.com/office/drawing/2014/chart" uri="{C3380CC4-5D6E-409C-BE32-E72D297353CC}">
              <c16:uniqueId val="{00000003-DDC5-4BB0-9697-B3C6B8123A4B}"/>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64864197530864"/>
          <c:y val="0.12152940918360107"/>
          <c:w val="0.83974691358024689"/>
          <c:h val="0.72254306602702423"/>
        </c:manualLayout>
      </c:layout>
      <c:bubbleChart>
        <c:varyColors val="0"/>
        <c:ser>
          <c:idx val="0"/>
          <c:order val="0"/>
          <c:tx>
            <c:strRef>
              <c:f>Sheet1!$B$1</c:f>
              <c:strCache>
                <c:ptCount val="1"/>
                <c:pt idx="0">
                  <c:v>Average Value uplift</c:v>
                </c:pt>
              </c:strCache>
            </c:strRef>
          </c:tx>
          <c:spPr>
            <a:solidFill>
              <a:schemeClr val="bg2"/>
            </a:solidFill>
            <a:ln>
              <a:no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1-26FB-4B52-8D72-D56D618E8EAF}"/>
              </c:ext>
            </c:extLst>
          </c:dPt>
          <c:dPt>
            <c:idx val="1"/>
            <c:invertIfNegative val="0"/>
            <c:bubble3D val="0"/>
            <c:spPr>
              <a:solidFill>
                <a:schemeClr val="bg2"/>
              </a:solidFill>
              <a:ln>
                <a:noFill/>
              </a:ln>
              <a:effectLst/>
            </c:spPr>
            <c:extLst>
              <c:ext xmlns:c16="http://schemas.microsoft.com/office/drawing/2014/chart" uri="{C3380CC4-5D6E-409C-BE32-E72D297353CC}">
                <c16:uniqueId val="{00000003-26FB-4B52-8D72-D56D618E8EAF}"/>
              </c:ext>
            </c:extLst>
          </c:dPt>
          <c:dPt>
            <c:idx val="2"/>
            <c:invertIfNegative val="0"/>
            <c:bubble3D val="0"/>
            <c:spPr>
              <a:solidFill>
                <a:schemeClr val="bg2"/>
              </a:solidFill>
              <a:ln>
                <a:noFill/>
              </a:ln>
              <a:effectLst/>
            </c:spPr>
            <c:extLst>
              <c:ext xmlns:c16="http://schemas.microsoft.com/office/drawing/2014/chart" uri="{C3380CC4-5D6E-409C-BE32-E72D297353CC}">
                <c16:uniqueId val="{00000005-26FB-4B52-8D72-D56D618E8EAF}"/>
              </c:ext>
            </c:extLst>
          </c:dPt>
          <c:dPt>
            <c:idx val="3"/>
            <c:invertIfNegative val="0"/>
            <c:bubble3D val="0"/>
            <c:extLst>
              <c:ext xmlns:c16="http://schemas.microsoft.com/office/drawing/2014/chart" uri="{C3380CC4-5D6E-409C-BE32-E72D297353CC}">
                <c16:uniqueId val="{00000007-26FB-4B52-8D72-D56D618E8EAF}"/>
              </c:ext>
            </c:extLst>
          </c:dPt>
          <c:dPt>
            <c:idx val="4"/>
            <c:invertIfNegative val="0"/>
            <c:bubble3D val="0"/>
            <c:extLst>
              <c:ext xmlns:c16="http://schemas.microsoft.com/office/drawing/2014/chart" uri="{C3380CC4-5D6E-409C-BE32-E72D297353CC}">
                <c16:uniqueId val="{00000009-26FB-4B52-8D72-D56D618E8EAF}"/>
              </c:ext>
            </c:extLst>
          </c:dPt>
          <c:dPt>
            <c:idx val="5"/>
            <c:invertIfNegative val="0"/>
            <c:bubble3D val="0"/>
            <c:extLst>
              <c:ext xmlns:c16="http://schemas.microsoft.com/office/drawing/2014/chart" uri="{C3380CC4-5D6E-409C-BE32-E72D297353CC}">
                <c16:uniqueId val="{0000000B-26FB-4B52-8D72-D56D618E8EAF}"/>
              </c:ext>
            </c:extLst>
          </c:dPt>
          <c:dPt>
            <c:idx val="6"/>
            <c:invertIfNegative val="0"/>
            <c:bubble3D val="0"/>
            <c:spPr>
              <a:solidFill>
                <a:schemeClr val="bg2"/>
              </a:solidFill>
              <a:ln>
                <a:noFill/>
              </a:ln>
              <a:effectLst/>
            </c:spPr>
            <c:extLst>
              <c:ext xmlns:c16="http://schemas.microsoft.com/office/drawing/2014/chart" uri="{C3380CC4-5D6E-409C-BE32-E72D297353CC}">
                <c16:uniqueId val="{0000000D-26FB-4B52-8D72-D56D618E8EAF}"/>
              </c:ext>
            </c:extLst>
          </c:dPt>
          <c:dPt>
            <c:idx val="7"/>
            <c:invertIfNegative val="0"/>
            <c:bubble3D val="0"/>
            <c:spPr>
              <a:solidFill>
                <a:schemeClr val="bg2"/>
              </a:solidFill>
              <a:ln>
                <a:noFill/>
              </a:ln>
              <a:effectLst/>
            </c:spPr>
            <c:extLst>
              <c:ext xmlns:c16="http://schemas.microsoft.com/office/drawing/2014/chart" uri="{C3380CC4-5D6E-409C-BE32-E72D297353CC}">
                <c16:uniqueId val="{0000000F-26FB-4B52-8D72-D56D618E8EAF}"/>
              </c:ext>
            </c:extLst>
          </c:dPt>
          <c:dPt>
            <c:idx val="8"/>
            <c:invertIfNegative val="0"/>
            <c:bubble3D val="0"/>
            <c:spPr>
              <a:solidFill>
                <a:schemeClr val="bg2"/>
              </a:solidFill>
              <a:ln>
                <a:noFill/>
              </a:ln>
              <a:effectLst/>
            </c:spPr>
            <c:extLst>
              <c:ext xmlns:c16="http://schemas.microsoft.com/office/drawing/2014/chart" uri="{C3380CC4-5D6E-409C-BE32-E72D297353CC}">
                <c16:uniqueId val="{00000011-26FB-4B52-8D72-D56D618E8EAF}"/>
              </c:ext>
            </c:extLst>
          </c:dPt>
          <c:dPt>
            <c:idx val="11"/>
            <c:invertIfNegative val="0"/>
            <c:bubble3D val="0"/>
            <c:spPr>
              <a:solidFill>
                <a:schemeClr val="bg2"/>
              </a:solidFill>
              <a:ln>
                <a:noFill/>
              </a:ln>
              <a:effectLst/>
            </c:spPr>
            <c:extLst>
              <c:ext xmlns:c16="http://schemas.microsoft.com/office/drawing/2014/chart" uri="{C3380CC4-5D6E-409C-BE32-E72D297353CC}">
                <c16:uniqueId val="{00000013-26FB-4B52-8D72-D56D618E8EAF}"/>
              </c:ext>
            </c:extLst>
          </c:dPt>
          <c:dPt>
            <c:idx val="12"/>
            <c:invertIfNegative val="0"/>
            <c:bubble3D val="0"/>
            <c:spPr>
              <a:solidFill>
                <a:schemeClr val="bg2"/>
              </a:solidFill>
              <a:ln>
                <a:noFill/>
              </a:ln>
              <a:effectLst/>
            </c:spPr>
            <c:extLst>
              <c:ext xmlns:c16="http://schemas.microsoft.com/office/drawing/2014/chart" uri="{C3380CC4-5D6E-409C-BE32-E72D297353CC}">
                <c16:uniqueId val="{00000002-7B2D-4A32-96D2-9C641BCDE5CC}"/>
              </c:ext>
            </c:extLst>
          </c:dPt>
          <c:dPt>
            <c:idx val="13"/>
            <c:invertIfNegative val="0"/>
            <c:bubble3D val="0"/>
            <c:extLst>
              <c:ext xmlns:c16="http://schemas.microsoft.com/office/drawing/2014/chart" uri="{C3380CC4-5D6E-409C-BE32-E72D297353CC}">
                <c16:uniqueId val="{00000017-26FB-4B52-8D72-D56D618E8EAF}"/>
              </c:ext>
            </c:extLst>
          </c:dPt>
          <c:dPt>
            <c:idx val="14"/>
            <c:invertIfNegative val="0"/>
            <c:bubble3D val="0"/>
            <c:spPr>
              <a:solidFill>
                <a:schemeClr val="bg2"/>
              </a:solidFill>
              <a:ln>
                <a:noFill/>
              </a:ln>
              <a:effectLst/>
            </c:spPr>
            <c:extLst>
              <c:ext xmlns:c16="http://schemas.microsoft.com/office/drawing/2014/chart" uri="{C3380CC4-5D6E-409C-BE32-E72D297353CC}">
                <c16:uniqueId val="{00000019-26FB-4B52-8D72-D56D618E8EAF}"/>
              </c:ext>
            </c:extLst>
          </c:dPt>
          <c:dPt>
            <c:idx val="15"/>
            <c:invertIfNegative val="0"/>
            <c:bubble3D val="0"/>
            <c:extLst>
              <c:ext xmlns:c16="http://schemas.microsoft.com/office/drawing/2014/chart" uri="{C3380CC4-5D6E-409C-BE32-E72D297353CC}">
                <c16:uniqueId val="{0000001C-26FB-4B52-8D72-D56D618E8EAF}"/>
              </c:ext>
            </c:extLst>
          </c:dPt>
          <c:dPt>
            <c:idx val="19"/>
            <c:invertIfNegative val="0"/>
            <c:bubble3D val="0"/>
            <c:spPr>
              <a:solidFill>
                <a:srgbClr val="7ECAC4"/>
              </a:solidFill>
              <a:ln>
                <a:noFill/>
              </a:ln>
              <a:effectLst/>
            </c:spPr>
            <c:extLst>
              <c:ext xmlns:c16="http://schemas.microsoft.com/office/drawing/2014/chart" uri="{C3380CC4-5D6E-409C-BE32-E72D297353CC}">
                <c16:uniqueId val="{00000002-0A6E-4C83-9A06-9C3309B2855E}"/>
              </c:ext>
            </c:extLst>
          </c:dPt>
          <c:dPt>
            <c:idx val="24"/>
            <c:invertIfNegative val="0"/>
            <c:bubble3D val="0"/>
            <c:spPr>
              <a:solidFill>
                <a:schemeClr val="bg2"/>
              </a:solidFill>
              <a:ln>
                <a:noFill/>
              </a:ln>
              <a:effectLst/>
            </c:spPr>
            <c:extLst>
              <c:ext xmlns:c16="http://schemas.microsoft.com/office/drawing/2014/chart" uri="{C3380CC4-5D6E-409C-BE32-E72D297353CC}">
                <c16:uniqueId val="{00000005-0A6E-4C83-9A06-9C3309B2855E}"/>
              </c:ext>
            </c:extLst>
          </c:dPt>
          <c:dPt>
            <c:idx val="29"/>
            <c:invertIfNegative val="0"/>
            <c:bubble3D val="0"/>
            <c:extLst>
              <c:ext xmlns:c16="http://schemas.microsoft.com/office/drawing/2014/chart" uri="{C3380CC4-5D6E-409C-BE32-E72D297353CC}">
                <c16:uniqueId val="{00000003-8F47-486F-B734-6012CEA493B3}"/>
              </c:ext>
            </c:extLst>
          </c:dPt>
          <c:dPt>
            <c:idx val="31"/>
            <c:invertIfNegative val="0"/>
            <c:bubble3D val="0"/>
            <c:spPr>
              <a:solidFill>
                <a:schemeClr val="accent2"/>
              </a:solidFill>
              <a:ln>
                <a:noFill/>
              </a:ln>
              <a:effectLst/>
            </c:spPr>
            <c:extLst>
              <c:ext xmlns:c16="http://schemas.microsoft.com/office/drawing/2014/chart" uri="{C3380CC4-5D6E-409C-BE32-E72D297353CC}">
                <c16:uniqueId val="{00000000-4D12-44DE-B956-CABCB15EBC04}"/>
              </c:ext>
            </c:extLst>
          </c:dPt>
          <c:dPt>
            <c:idx val="33"/>
            <c:invertIfNegative val="0"/>
            <c:bubble3D val="0"/>
            <c:spPr>
              <a:solidFill>
                <a:schemeClr val="accent2"/>
              </a:solidFill>
              <a:ln>
                <a:noFill/>
              </a:ln>
              <a:effectLst/>
            </c:spPr>
            <c:extLst>
              <c:ext xmlns:c16="http://schemas.microsoft.com/office/drawing/2014/chart" uri="{C3380CC4-5D6E-409C-BE32-E72D297353CC}">
                <c16:uniqueId val="{00000001-4D12-44DE-B956-CABCB15EBC04}"/>
              </c:ext>
            </c:extLst>
          </c:dPt>
          <c:dLbls>
            <c:dLbl>
              <c:idx val="0"/>
              <c:tx>
                <c:rich>
                  <a:bodyPr/>
                  <a:lstStyle/>
                  <a:p>
                    <a:fld id="{74505238-84B1-439E-8929-FD43F6DA4F59}"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26FB-4B52-8D72-D56D618E8EAF}"/>
                </c:ext>
              </c:extLst>
            </c:dLbl>
            <c:dLbl>
              <c:idx val="1"/>
              <c:tx>
                <c:rich>
                  <a:bodyPr/>
                  <a:lstStyle/>
                  <a:p>
                    <a:fld id="{1EC27DA7-5566-44DC-9A56-EE550FF370E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FB-4B52-8D72-D56D618E8EAF}"/>
                </c:ext>
              </c:extLst>
            </c:dLbl>
            <c:dLbl>
              <c:idx val="2"/>
              <c:tx>
                <c:rich>
                  <a:bodyPr/>
                  <a:lstStyle/>
                  <a:p>
                    <a:fld id="{E19FBFBA-C0BB-4874-A6AD-5FC1149CE2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26FB-4B52-8D72-D56D618E8EAF}"/>
                </c:ext>
              </c:extLst>
            </c:dLbl>
            <c:dLbl>
              <c:idx val="3"/>
              <c:tx>
                <c:rich>
                  <a:bodyPr/>
                  <a:lstStyle/>
                  <a:p>
                    <a:fld id="{4AD8B167-67F9-4B04-B1F6-1AA9FC9E3F1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FB-4B52-8D72-D56D618E8EAF}"/>
                </c:ext>
              </c:extLst>
            </c:dLbl>
            <c:dLbl>
              <c:idx val="4"/>
              <c:tx>
                <c:rich>
                  <a:bodyPr/>
                  <a:lstStyle/>
                  <a:p>
                    <a:fld id="{A7D0FAB9-3DE4-4079-A418-374A8741EAF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FB-4B52-8D72-D56D618E8EAF}"/>
                </c:ext>
              </c:extLst>
            </c:dLbl>
            <c:dLbl>
              <c:idx val="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B-26FB-4B52-8D72-D56D618E8EAF}"/>
                </c:ext>
              </c:extLst>
            </c:dLbl>
            <c:dLbl>
              <c:idx val="6"/>
              <c:tx>
                <c:rich>
                  <a:bodyPr/>
                  <a:lstStyle/>
                  <a:p>
                    <a:fld id="{50072AFE-ABB5-4088-AF75-D1435CB7B6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26FB-4B52-8D72-D56D618E8EAF}"/>
                </c:ext>
              </c:extLst>
            </c:dLbl>
            <c:dLbl>
              <c:idx val="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F-26FB-4B52-8D72-D56D618E8EAF}"/>
                </c:ext>
              </c:extLst>
            </c:dLbl>
            <c:dLbl>
              <c:idx val="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26FB-4B52-8D72-D56D618E8EAF}"/>
                </c:ext>
              </c:extLst>
            </c:dLbl>
            <c:dLbl>
              <c:idx val="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0-7B2D-4A32-96D2-9C641BCDE5CC}"/>
                </c:ext>
              </c:extLst>
            </c:dLbl>
            <c:dLbl>
              <c:idx val="1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1-7B2D-4A32-96D2-9C641BCDE5CC}"/>
                </c:ext>
              </c:extLst>
            </c:dLbl>
            <c:dLbl>
              <c:idx val="1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3-26FB-4B52-8D72-D56D618E8EAF}"/>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2-7B2D-4A32-96D2-9C641BCDE5CC}"/>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26FB-4B52-8D72-D56D618E8EAF}"/>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26FB-4B52-8D72-D56D618E8EAF}"/>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26FB-4B52-8D72-D56D618E8EAF}"/>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1-0A6E-4C83-9A06-9C3309B2855E}"/>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4-0A6E-4C83-9A06-9C3309B2855E}"/>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3-0A6E-4C83-9A06-9C3309B2855E}"/>
                </c:ext>
              </c:extLst>
            </c:dLbl>
            <c:dLbl>
              <c:idx val="19"/>
              <c:tx>
                <c:rich>
                  <a:bodyPr/>
                  <a:lstStyle/>
                  <a:p>
                    <a:fld id="{A8BC0274-D7B7-46B1-9203-77C36DBBB50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0A6E-4C83-9A06-9C3309B2855E}"/>
                </c:ext>
              </c:extLst>
            </c:dLbl>
            <c:dLbl>
              <c:idx val="20"/>
              <c:tx>
                <c:rich>
                  <a:bodyPr/>
                  <a:lstStyle/>
                  <a:p>
                    <a:fld id="{EE7A97B7-EACE-4851-863D-D9131FB5ED3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C5AD-4BCF-9CB2-60EDA2D7DB42}"/>
                </c:ext>
              </c:extLst>
            </c:dLbl>
            <c:dLbl>
              <c:idx val="21"/>
              <c:tx>
                <c:rich>
                  <a:bodyPr/>
                  <a:lstStyle/>
                  <a:p>
                    <a:fld id="{3C11B7FC-C6AA-4789-90C8-2A637D2D658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5AD-4BCF-9CB2-60EDA2D7DB42}"/>
                </c:ext>
              </c:extLst>
            </c:dLbl>
            <c:dLbl>
              <c:idx val="22"/>
              <c:tx>
                <c:rich>
                  <a:bodyPr/>
                  <a:lstStyle/>
                  <a:p>
                    <a:fld id="{6E0EBEAA-2C7D-4326-8518-361EAF6271D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5AD-4BCF-9CB2-60EDA2D7DB42}"/>
                </c:ext>
              </c:extLst>
            </c:dLbl>
            <c:dLbl>
              <c:idx val="23"/>
              <c:tx>
                <c:rich>
                  <a:bodyPr/>
                  <a:lstStyle/>
                  <a:p>
                    <a:fld id="{3713C588-4C46-41D3-B45A-B8B928924FB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5AD-4BCF-9CB2-60EDA2D7DB42}"/>
                </c:ext>
              </c:extLst>
            </c:dLbl>
            <c:dLbl>
              <c:idx val="24"/>
              <c:tx>
                <c:rich>
                  <a:bodyPr/>
                  <a:lstStyle/>
                  <a:p>
                    <a:fld id="{8558A40B-0B26-4C7E-9D81-3566A8C56D6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0A6E-4C83-9A06-9C3309B2855E}"/>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2-4D12-44DE-B956-CABCB15EBC04}"/>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3-4D12-44DE-B956-CABCB15EBC04}"/>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4-4D12-44DE-B956-CABCB15EBC04}"/>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5-4D12-44DE-B956-CABCB15EBC04}"/>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3-8F47-486F-B734-6012CEA493B3}"/>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6-4D12-44DE-B956-CABCB15EBC04}"/>
                </c:ext>
              </c:extLst>
            </c:dLbl>
            <c:dLbl>
              <c:idx val="31"/>
              <c:tx>
                <c:rich>
                  <a:bodyPr/>
                  <a:lstStyle/>
                  <a:p>
                    <a:fld id="{8EF09A29-CAE1-4604-B95E-79287225F5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D12-44DE-B956-CABCB15EBC04}"/>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7-4D12-44DE-B956-CABCB15EBC04}"/>
                </c:ext>
              </c:extLst>
            </c:dLbl>
            <c:dLbl>
              <c:idx val="33"/>
              <c:tx>
                <c:rich>
                  <a:bodyPr/>
                  <a:lstStyle/>
                  <a:p>
                    <a:fld id="{EA3C685E-7BF9-479A-AB39-595550A3728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D12-44DE-B956-CABCB15EBC04}"/>
                </c:ext>
              </c:extLst>
            </c:dLbl>
            <c:dLbl>
              <c:idx val="34"/>
              <c:tx>
                <c:rich>
                  <a:bodyPr/>
                  <a:lstStyle/>
                  <a:p>
                    <a:fld id="{80FB4B72-BFBC-4409-BA0E-390FE337A45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D12-44DE-B956-CABCB15EBC04}"/>
                </c:ext>
              </c:extLst>
            </c:dLbl>
            <c:dLbl>
              <c:idx val="35"/>
              <c:tx>
                <c:rich>
                  <a:bodyPr/>
                  <a:lstStyle/>
                  <a:p>
                    <a:fld id="{BFE30E1A-FA99-42C2-83D5-15A1451F8F4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D12-44DE-B956-CABCB15EBC04}"/>
                </c:ext>
              </c:extLst>
            </c:dLbl>
            <c:dLbl>
              <c:idx val="36"/>
              <c:tx>
                <c:rich>
                  <a:bodyPr/>
                  <a:lstStyle/>
                  <a:p>
                    <a:fld id="{E83D5637-F0C6-4683-A48A-08DE020B91A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D12-44DE-B956-CABCB15EBC04}"/>
                </c:ext>
              </c:extLst>
            </c:dLbl>
            <c:dLbl>
              <c:idx val="37"/>
              <c:tx>
                <c:rich>
                  <a:bodyPr/>
                  <a:lstStyle/>
                  <a:p>
                    <a:fld id="{CFAE35F1-9B23-4DDB-8A7A-20CFCBC010D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D12-44DE-B956-CABCB15EBC04}"/>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4D12-44DE-B956-CABCB15EBC04}"/>
                </c:ext>
              </c:extLst>
            </c:dLbl>
            <c:dLbl>
              <c:idx val="39"/>
              <c:tx>
                <c:rich>
                  <a:bodyPr/>
                  <a:lstStyle/>
                  <a:p>
                    <a:fld id="{CE5C5012-6015-4557-A087-BC19C5AAAF5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D12-44DE-B956-CABCB15EBC04}"/>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E-4D12-44DE-B956-CABCB15EBC04}"/>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F-4D12-44DE-B956-CABCB15EBC04}"/>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0-4D12-44DE-B956-CABCB15EBC04}"/>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4D12-44DE-B956-CABCB15EBC04}"/>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2-4D12-44DE-B956-CABCB15EBC04}"/>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3-4D12-44DE-B956-CABCB15EBC04}"/>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4-4D12-44DE-B956-CABCB15EBC04}"/>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4D12-44DE-B956-CABCB15EBC04}"/>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4D12-44DE-B956-CABCB15EBC04}"/>
                </c:ext>
              </c:extLst>
            </c:dLbl>
            <c:dLbl>
              <c:idx val="4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4D12-44DE-B956-CABCB15EBC04}"/>
                </c:ext>
              </c:extLst>
            </c:dLbl>
            <c:dLbl>
              <c:idx val="5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4D12-44DE-B956-CABCB15EBC04}"/>
                </c:ext>
              </c:extLst>
            </c:dLbl>
            <c:dLbl>
              <c:idx val="5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4D12-44DE-B956-CABCB15EBC04}"/>
                </c:ext>
              </c:extLst>
            </c:dLbl>
            <c:dLbl>
              <c:idx val="5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4D12-44DE-B956-CABCB15EBC04}"/>
                </c:ext>
              </c:extLst>
            </c:dLbl>
            <c:dLbl>
              <c:idx val="5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4D12-44DE-B956-CABCB15EBC04}"/>
                </c:ext>
              </c:extLst>
            </c:dLbl>
            <c:dLbl>
              <c:idx val="5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4D12-44DE-B956-CABCB15EBC04}"/>
                </c:ext>
              </c:extLst>
            </c:dLbl>
            <c:dLbl>
              <c:idx val="5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4D12-44DE-B956-CABCB15EBC04}"/>
                </c:ext>
              </c:extLst>
            </c:dLbl>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D$2:$D$57</c:f>
              <c:numCache>
                <c:formatCode>General</c:formatCode>
                <c:ptCount val="56"/>
                <c:pt idx="0">
                  <c:v>1</c:v>
                </c:pt>
                <c:pt idx="1">
                  <c:v>1</c:v>
                </c:pt>
                <c:pt idx="2">
                  <c:v>1</c:v>
                </c:pt>
                <c:pt idx="3">
                  <c:v>1</c:v>
                </c:pt>
                <c:pt idx="4" formatCode="0">
                  <c:v>1</c:v>
                </c:pt>
                <c:pt idx="6" formatCode="0">
                  <c:v>1</c:v>
                </c:pt>
                <c:pt idx="19" formatCode="0">
                  <c:v>2</c:v>
                </c:pt>
                <c:pt idx="20" formatCode="0">
                  <c:v>2</c:v>
                </c:pt>
                <c:pt idx="21" formatCode="0">
                  <c:v>2</c:v>
                </c:pt>
                <c:pt idx="22" formatCode="0">
                  <c:v>2</c:v>
                </c:pt>
                <c:pt idx="23" formatCode="0">
                  <c:v>2</c:v>
                </c:pt>
                <c:pt idx="24" formatCode="0">
                  <c:v>2</c:v>
                </c:pt>
                <c:pt idx="31">
                  <c:v>3</c:v>
                </c:pt>
                <c:pt idx="33">
                  <c:v>4</c:v>
                </c:pt>
                <c:pt idx="34">
                  <c:v>4</c:v>
                </c:pt>
                <c:pt idx="35">
                  <c:v>4</c:v>
                </c:pt>
                <c:pt idx="36">
                  <c:v>4</c:v>
                </c:pt>
                <c:pt idx="37">
                  <c:v>4</c:v>
                </c:pt>
                <c:pt idx="39">
                  <c:v>4</c:v>
                </c:pt>
              </c:numCache>
            </c:numRef>
          </c:xVal>
          <c:yVal>
            <c:numRef>
              <c:f>Sheet1!$B$2:$B$57</c:f>
              <c:numCache>
                <c:formatCode>0%;\-0%;0%</c:formatCode>
                <c:ptCount val="56"/>
                <c:pt idx="0">
                  <c:v>0.33537119853666614</c:v>
                </c:pt>
                <c:pt idx="1">
                  <c:v>1.3110575620733895</c:v>
                </c:pt>
                <c:pt idx="2">
                  <c:v>0.12281129115912857</c:v>
                </c:pt>
                <c:pt idx="3">
                  <c:v>0.52740423038450002</c:v>
                </c:pt>
                <c:pt idx="4">
                  <c:v>0.23394614817291179</c:v>
                </c:pt>
                <c:pt idx="5">
                  <c:v>0.40424723346828612</c:v>
                </c:pt>
                <c:pt idx="6">
                  <c:v>1.0381094546405629</c:v>
                </c:pt>
                <c:pt idx="7">
                  <c:v>0.39464140468177511</c:v>
                </c:pt>
                <c:pt idx="8">
                  <c:v>1.0804710500490677</c:v>
                </c:pt>
                <c:pt idx="9">
                  <c:v>0.29756844074137051</c:v>
                </c:pt>
                <c:pt idx="10">
                  <c:v>0.34245897269923464</c:v>
                </c:pt>
                <c:pt idx="11">
                  <c:v>0.64309733708988459</c:v>
                </c:pt>
                <c:pt idx="12">
                  <c:v>7.6182838813151563E-3</c:v>
                </c:pt>
                <c:pt idx="13">
                  <c:v>7.2727272727272724E-2</c:v>
                </c:pt>
                <c:pt idx="14">
                  <c:v>9.4564818215203822E-2</c:v>
                </c:pt>
                <c:pt idx="15">
                  <c:v>0.97732228521587439</c:v>
                </c:pt>
                <c:pt idx="16">
                  <c:v>0.12916246215943492</c:v>
                </c:pt>
                <c:pt idx="17">
                  <c:v>0</c:v>
                </c:pt>
                <c:pt idx="18">
                  <c:v>0</c:v>
                </c:pt>
                <c:pt idx="19">
                  <c:v>0.67651164854893464</c:v>
                </c:pt>
                <c:pt idx="20">
                  <c:v>1.189595592135231</c:v>
                </c:pt>
                <c:pt idx="21">
                  <c:v>0.17901899226560691</c:v>
                </c:pt>
                <c:pt idx="22">
                  <c:v>1.1122736936699982</c:v>
                </c:pt>
                <c:pt idx="23">
                  <c:v>0.85910295216250121</c:v>
                </c:pt>
                <c:pt idx="24">
                  <c:v>0.98060814099444116</c:v>
                </c:pt>
                <c:pt idx="25">
                  <c:v>0.54450632951838152</c:v>
                </c:pt>
                <c:pt idx="26">
                  <c:v>0.56422668334309645</c:v>
                </c:pt>
                <c:pt idx="27">
                  <c:v>0.30859076520030565</c:v>
                </c:pt>
                <c:pt idx="28">
                  <c:v>-5.088408644400786E-2</c:v>
                </c:pt>
                <c:pt idx="29">
                  <c:v>0.48655046266408436</c:v>
                </c:pt>
                <c:pt idx="30">
                  <c:v>5.8252427184466021E-2</c:v>
                </c:pt>
                <c:pt idx="31">
                  <c:v>0.57528207397007924</c:v>
                </c:pt>
                <c:pt idx="32">
                  <c:v>0</c:v>
                </c:pt>
                <c:pt idx="33">
                  <c:v>0.34969330141134647</c:v>
                </c:pt>
                <c:pt idx="34">
                  <c:v>9.3618913842698215E-2</c:v>
                </c:pt>
                <c:pt idx="35">
                  <c:v>0.39086369781125707</c:v>
                </c:pt>
                <c:pt idx="36">
                  <c:v>0.53102946813067886</c:v>
                </c:pt>
                <c:pt idx="37">
                  <c:v>0.30671829359418518</c:v>
                </c:pt>
                <c:pt idx="38">
                  <c:v>4.7373658397896083E-2</c:v>
                </c:pt>
                <c:pt idx="39">
                  <c:v>9.8011706773204491E-2</c:v>
                </c:pt>
                <c:pt idx="40">
                  <c:v>5.9622372365136428E-2</c:v>
                </c:pt>
                <c:pt idx="41">
                  <c:v>0.3325076129317282</c:v>
                </c:pt>
                <c:pt idx="42">
                  <c:v>1.6811941832822908E-2</c:v>
                </c:pt>
                <c:pt idx="43">
                  <c:v>0.13383247543284979</c:v>
                </c:pt>
                <c:pt idx="44">
                  <c:v>0.18520227334689512</c:v>
                </c:pt>
                <c:pt idx="45">
                  <c:v>0.15534287581423784</c:v>
                </c:pt>
                <c:pt idx="46">
                  <c:v>0.27216813979063992</c:v>
                </c:pt>
                <c:pt idx="47">
                  <c:v>0.14428544647878522</c:v>
                </c:pt>
                <c:pt idx="48">
                  <c:v>8.9574245868403263E-2</c:v>
                </c:pt>
                <c:pt idx="49">
                  <c:v>0.29961779961779961</c:v>
                </c:pt>
                <c:pt idx="50">
                  <c:v>0.32942695401728078</c:v>
                </c:pt>
                <c:pt idx="51">
                  <c:v>0.79519295870006768</c:v>
                </c:pt>
                <c:pt idx="52">
                  <c:v>5.1974626560261916E-2</c:v>
                </c:pt>
                <c:pt idx="53">
                  <c:v>-2.5057825751734774E-2</c:v>
                </c:pt>
                <c:pt idx="54">
                  <c:v>-0.28899835796387519</c:v>
                </c:pt>
                <c:pt idx="55">
                  <c:v>0</c:v>
                </c:pt>
              </c:numCache>
            </c:numRef>
          </c:yVal>
          <c:bubbleSize>
            <c:numRef>
              <c:f>Sheet1!$C$2:$C$57</c:f>
              <c:numCache>
                <c:formatCode>0%;\-0%;0%</c:formatCode>
                <c:ptCount val="56"/>
                <c:pt idx="0">
                  <c:v>4111084</c:v>
                </c:pt>
                <c:pt idx="1">
                  <c:v>1160533</c:v>
                </c:pt>
                <c:pt idx="2">
                  <c:v>1117212</c:v>
                </c:pt>
                <c:pt idx="3">
                  <c:v>504428</c:v>
                </c:pt>
                <c:pt idx="4">
                  <c:v>459435</c:v>
                </c:pt>
                <c:pt idx="5">
                  <c:v>386077</c:v>
                </c:pt>
                <c:pt idx="6">
                  <c:v>277647</c:v>
                </c:pt>
                <c:pt idx="7">
                  <c:v>222216</c:v>
                </c:pt>
                <c:pt idx="8">
                  <c:v>108739</c:v>
                </c:pt>
                <c:pt idx="9">
                  <c:v>100141</c:v>
                </c:pt>
                <c:pt idx="10">
                  <c:v>18851</c:v>
                </c:pt>
                <c:pt idx="11">
                  <c:v>13981</c:v>
                </c:pt>
                <c:pt idx="12">
                  <c:v>10864</c:v>
                </c:pt>
                <c:pt idx="13">
                  <c:v>7717</c:v>
                </c:pt>
                <c:pt idx="14">
                  <c:v>7439</c:v>
                </c:pt>
                <c:pt idx="15">
                  <c:v>4428</c:v>
                </c:pt>
                <c:pt idx="16">
                  <c:v>1120</c:v>
                </c:pt>
                <c:pt idx="17">
                  <c:v>21</c:v>
                </c:pt>
                <c:pt idx="18">
                  <c:v>0</c:v>
                </c:pt>
                <c:pt idx="19">
                  <c:v>12037304</c:v>
                </c:pt>
                <c:pt idx="20">
                  <c:v>5124041</c:v>
                </c:pt>
                <c:pt idx="21">
                  <c:v>4271666</c:v>
                </c:pt>
                <c:pt idx="22">
                  <c:v>1061364</c:v>
                </c:pt>
                <c:pt idx="23">
                  <c:v>786468</c:v>
                </c:pt>
                <c:pt idx="24">
                  <c:v>606283</c:v>
                </c:pt>
                <c:pt idx="25">
                  <c:v>479058</c:v>
                </c:pt>
                <c:pt idx="26">
                  <c:v>306437</c:v>
                </c:pt>
                <c:pt idx="27">
                  <c:v>83930</c:v>
                </c:pt>
                <c:pt idx="28">
                  <c:v>32553</c:v>
                </c:pt>
                <c:pt idx="29">
                  <c:v>24613</c:v>
                </c:pt>
                <c:pt idx="30">
                  <c:v>42</c:v>
                </c:pt>
                <c:pt idx="31">
                  <c:v>16067456</c:v>
                </c:pt>
                <c:pt idx="32">
                  <c:v>0</c:v>
                </c:pt>
                <c:pt idx="33">
                  <c:v>2257543</c:v>
                </c:pt>
                <c:pt idx="34">
                  <c:v>350113</c:v>
                </c:pt>
                <c:pt idx="35">
                  <c:v>238922</c:v>
                </c:pt>
                <c:pt idx="36">
                  <c:v>178620</c:v>
                </c:pt>
                <c:pt idx="37">
                  <c:v>98148</c:v>
                </c:pt>
                <c:pt idx="38">
                  <c:v>76752</c:v>
                </c:pt>
                <c:pt idx="39">
                  <c:v>59927</c:v>
                </c:pt>
                <c:pt idx="40">
                  <c:v>59154</c:v>
                </c:pt>
                <c:pt idx="41">
                  <c:v>58860</c:v>
                </c:pt>
                <c:pt idx="42">
                  <c:v>53214</c:v>
                </c:pt>
                <c:pt idx="43">
                  <c:v>45806</c:v>
                </c:pt>
                <c:pt idx="44">
                  <c:v>33868</c:v>
                </c:pt>
                <c:pt idx="45">
                  <c:v>28590</c:v>
                </c:pt>
                <c:pt idx="46">
                  <c:v>26827</c:v>
                </c:pt>
                <c:pt idx="47">
                  <c:v>15746</c:v>
                </c:pt>
                <c:pt idx="48">
                  <c:v>10871</c:v>
                </c:pt>
                <c:pt idx="49">
                  <c:v>10018</c:v>
                </c:pt>
                <c:pt idx="50">
                  <c:v>4962</c:v>
                </c:pt>
                <c:pt idx="51">
                  <c:v>4865</c:v>
                </c:pt>
                <c:pt idx="52">
                  <c:v>3900</c:v>
                </c:pt>
                <c:pt idx="53">
                  <c:v>1677</c:v>
                </c:pt>
                <c:pt idx="54">
                  <c:v>297</c:v>
                </c:pt>
                <c:pt idx="55">
                  <c:v>0</c:v>
                </c:pt>
              </c:numCache>
            </c:numRef>
          </c:bubbleSize>
          <c:bubble3D val="0"/>
          <c:extLst>
            <c:ext xmlns:c15="http://schemas.microsoft.com/office/drawing/2012/chart" uri="{02D57815-91ED-43cb-92C2-25804820EDAC}">
              <c15:datalabelsRange>
                <c15:f>Sheet1!$A$2:$A$57</c15:f>
                <c15:dlblRangeCache>
                  <c:ptCount val="56"/>
                  <c:pt idx="0">
                    <c:v>Findus</c:v>
                  </c:pt>
                  <c:pt idx="1">
                    <c:v>Pescanova S.A.</c:v>
                  </c:pt>
                  <c:pt idx="2">
                    <c:v>Private Label</c:v>
                  </c:pt>
                  <c:pt idx="3">
                    <c:v>Frosta</c:v>
                  </c:pt>
                  <c:pt idx="4">
                    <c:v>Panapesca</c:v>
                  </c:pt>
                  <c:pt idx="5">
                    <c:v>Other</c:v>
                  </c:pt>
                  <c:pt idx="6">
                    <c:v>Esca Srl</c:v>
                  </c:pt>
                  <c:pt idx="7">
                    <c:v>Arbi Dario Spa</c:v>
                  </c:pt>
                  <c:pt idx="8">
                    <c:v>Krusta Group</c:v>
                  </c:pt>
                  <c:pt idx="9">
                    <c:v>Fandicosta</c:v>
                  </c:pt>
                  <c:pt idx="10">
                    <c:v>Green Ice</c:v>
                  </c:pt>
                  <c:pt idx="11">
                    <c:v>Alpe Srl - Roma</c:v>
                  </c:pt>
                  <c:pt idx="12">
                    <c:v>Conserviera Adriatica Spa</c:v>
                  </c:pt>
                  <c:pt idx="13">
                    <c:v>New Food</c:v>
                  </c:pt>
                  <c:pt idx="14">
                    <c:v>Agras 1947</c:v>
                  </c:pt>
                  <c:pt idx="15">
                    <c:v>Garbo Snc Di Comanducci Andrea</c:v>
                  </c:pt>
                  <c:pt idx="16">
                    <c:v>Vis Industrie Alimentari</c:v>
                  </c:pt>
                  <c:pt idx="17">
                    <c:v>Buitoni</c:v>
                  </c:pt>
                  <c:pt idx="18">
                    <c:v>Mittico</c:v>
                  </c:pt>
                  <c:pt idx="19">
                    <c:v>Findus</c:v>
                  </c:pt>
                  <c:pt idx="20">
                    <c:v>Frosta</c:v>
                  </c:pt>
                  <c:pt idx="21">
                    <c:v>Private Label</c:v>
                  </c:pt>
                  <c:pt idx="22">
                    <c:v>Krusta Group</c:v>
                  </c:pt>
                  <c:pt idx="23">
                    <c:v>Pescanova S.A.</c:v>
                  </c:pt>
                  <c:pt idx="24">
                    <c:v>Esca Srl</c:v>
                  </c:pt>
                  <c:pt idx="25">
                    <c:v>Arbi Dario Spa</c:v>
                  </c:pt>
                  <c:pt idx="26">
                    <c:v>Emme Gel</c:v>
                  </c:pt>
                  <c:pt idx="27">
                    <c:v>Green Ice</c:v>
                  </c:pt>
                  <c:pt idx="28">
                    <c:v>Other</c:v>
                  </c:pt>
                  <c:pt idx="29">
                    <c:v>Soavegel</c:v>
                  </c:pt>
                  <c:pt idx="30">
                    <c:v>Buitoni</c:v>
                  </c:pt>
                  <c:pt idx="31">
                    <c:v>Findus</c:v>
                  </c:pt>
                  <c:pt idx="32">
                    <c:v>Other</c:v>
                  </c:pt>
                  <c:pt idx="33">
                    <c:v>Findus</c:v>
                  </c:pt>
                  <c:pt idx="34">
                    <c:v>Private Label</c:v>
                  </c:pt>
                  <c:pt idx="35">
                    <c:v>Esca Srl</c:v>
                  </c:pt>
                  <c:pt idx="36">
                    <c:v>Agras 1947</c:v>
                  </c:pt>
                  <c:pt idx="37">
                    <c:v>Frosta</c:v>
                  </c:pt>
                  <c:pt idx="38">
                    <c:v>Other</c:v>
                  </c:pt>
                  <c:pt idx="39">
                    <c:v>New Food</c:v>
                  </c:pt>
                  <c:pt idx="40">
                    <c:v>Noriberica</c:v>
                  </c:pt>
                  <c:pt idx="41">
                    <c:v>Krusta Group</c:v>
                  </c:pt>
                  <c:pt idx="42">
                    <c:v>Nai Prodotti Ittici</c:v>
                  </c:pt>
                  <c:pt idx="43">
                    <c:v>Green Ice</c:v>
                  </c:pt>
                  <c:pt idx="44">
                    <c:v>Pescanova S.A.</c:v>
                  </c:pt>
                  <c:pt idx="45">
                    <c:v>Alpe Srl - Roma</c:v>
                  </c:pt>
                  <c:pt idx="46">
                    <c:v>Appetais Italia Spa</c:v>
                  </c:pt>
                  <c:pt idx="47">
                    <c:v>Royal Greenland</c:v>
                  </c:pt>
                  <c:pt idx="48">
                    <c:v>Panapesca</c:v>
                  </c:pt>
                  <c:pt idx="49">
                    <c:v>Conserviera Adriatica Spa</c:v>
                  </c:pt>
                  <c:pt idx="50">
                    <c:v>Gerfrio</c:v>
                  </c:pt>
                  <c:pt idx="51">
                    <c:v>Garbo Snc Di Comanducci Andrea</c:v>
                  </c:pt>
                  <c:pt idx="52">
                    <c:v>Vis Industrie Alimentari</c:v>
                  </c:pt>
                  <c:pt idx="53">
                    <c:v>Soavegel</c:v>
                  </c:pt>
                  <c:pt idx="54">
                    <c:v>Nettuno Alimentari Srl</c:v>
                  </c:pt>
                  <c:pt idx="55">
                    <c:v>Buitoni</c:v>
                  </c:pt>
                </c15:dlblRangeCache>
              </c15:datalabelsRange>
            </c:ext>
            <c:ext xmlns:c16="http://schemas.microsoft.com/office/drawing/2014/chart" uri="{C3380CC4-5D6E-409C-BE32-E72D297353CC}">
              <c16:uniqueId val="{00000026-26FB-4B52-8D72-D56D618E8EAF}"/>
            </c:ext>
          </c:extLst>
        </c:ser>
        <c:dLbls>
          <c:dLblPos val="ctr"/>
          <c:showLegendKey val="0"/>
          <c:showVal val="1"/>
          <c:showCatName val="0"/>
          <c:showSerName val="0"/>
          <c:showPercent val="0"/>
          <c:showBubbleSize val="0"/>
        </c:dLbls>
        <c:bubbleScale val="75"/>
        <c:showNegBubbles val="0"/>
        <c:axId val="804121775"/>
        <c:axId val="804116783"/>
      </c:bubbleChart>
      <c:valAx>
        <c:axId val="804121775"/>
        <c:scaling>
          <c:orientation val="minMax"/>
          <c:max val="4.5"/>
          <c:min val="0.5"/>
        </c:scaling>
        <c:delete val="0"/>
        <c:axPos val="b"/>
        <c:numFmt formatCode="0%" sourceLinked="0"/>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16783"/>
        <c:crosses val="autoZero"/>
        <c:crossBetween val="midCat"/>
        <c:minorUnit val="0.1"/>
      </c:valAx>
      <c:valAx>
        <c:axId val="804116783"/>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en-US" sz="800" dirty="0">
                    <a:solidFill>
                      <a:schemeClr val="tx1"/>
                    </a:solidFill>
                    <a:latin typeface="Nexa Bold" panose="00000800000000000000" pitchFamily="2" charset="0"/>
                  </a:rPr>
                  <a:t>Averag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Valu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uplift</a:t>
                </a:r>
                <a:endParaRPr lang="en-CH" sz="800" dirty="0">
                  <a:solidFill>
                    <a:schemeClr val="tx1"/>
                  </a:solidFill>
                  <a:latin typeface="Nexa Bold" panose="00000800000000000000" pitchFamily="2" charset="0"/>
                </a:endParaRPr>
              </a:p>
            </c:rich>
          </c:tx>
          <c:layout>
            <c:manualLayout>
              <c:xMode val="edge"/>
              <c:yMode val="edge"/>
              <c:x val="2.0811111111111117E-3"/>
              <c:y val="0.10078557265656676"/>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CH"/>
            </a:p>
          </c:txPr>
        </c:title>
        <c:numFmt formatCode="0%" sourceLinked="0"/>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21775"/>
        <c:crosses val="autoZero"/>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G$1</c:f>
              <c:strCache>
                <c:ptCount val="1"/>
                <c:pt idx="0">
                  <c:v>Small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G$2:$G$37</c:f>
              <c:numCache>
                <c:formatCode>0%</c:formatCode>
                <c:ptCount val="36"/>
                <c:pt idx="0">
                  <c:v>0.9636844996456132</c:v>
                </c:pt>
                <c:pt idx="1">
                  <c:v>1.0460366940388319</c:v>
                </c:pt>
                <c:pt idx="2">
                  <c:v>1.206116351645163</c:v>
                </c:pt>
                <c:pt idx="3">
                  <c:v>1.2983131053207304</c:v>
                </c:pt>
                <c:pt idx="4">
                  <c:v>1.1358603251460164</c:v>
                </c:pt>
                <c:pt idx="5">
                  <c:v>0.9702994879909782</c:v>
                </c:pt>
                <c:pt idx="6">
                  <c:v>0.85871354305643566</c:v>
                </c:pt>
                <c:pt idx="7">
                  <c:v>0.8056932104732506</c:v>
                </c:pt>
                <c:pt idx="8">
                  <c:v>0.77400606192522703</c:v>
                </c:pt>
                <c:pt idx="9">
                  <c:v>0.74539979888853203</c:v>
                </c:pt>
                <c:pt idx="10">
                  <c:v>0.86961761722764874</c:v>
                </c:pt>
                <c:pt idx="11">
                  <c:v>0.91340763521759294</c:v>
                </c:pt>
                <c:pt idx="12">
                  <c:v>1.0968873056153734</c:v>
                </c:pt>
                <c:pt idx="13">
                  <c:v>1.121420955790694</c:v>
                </c:pt>
                <c:pt idx="14">
                  <c:v>1.2937617960728616</c:v>
                </c:pt>
                <c:pt idx="15">
                  <c:v>1.3365071579810675</c:v>
                </c:pt>
                <c:pt idx="16">
                  <c:v>1.0661333313576895</c:v>
                </c:pt>
                <c:pt idx="17">
                  <c:v>1.0286682748202165</c:v>
                </c:pt>
                <c:pt idx="18">
                  <c:v>0.917528066601354</c:v>
                </c:pt>
                <c:pt idx="19">
                  <c:v>0.83666199850174361</c:v>
                </c:pt>
                <c:pt idx="20">
                  <c:v>0.78742626362763024</c:v>
                </c:pt>
                <c:pt idx="21">
                  <c:v>0.72135732236310157</c:v>
                </c:pt>
                <c:pt idx="22">
                  <c:v>0.81876857082936849</c:v>
                </c:pt>
                <c:pt idx="23">
                  <c:v>0.90068396403738837</c:v>
                </c:pt>
                <c:pt idx="24">
                  <c:v>1.0445500290499452</c:v>
                </c:pt>
                <c:pt idx="25">
                  <c:v>1.1062416580562486</c:v>
                </c:pt>
                <c:pt idx="26">
                  <c:v>1.2463776939126952</c:v>
                </c:pt>
                <c:pt idx="27">
                  <c:v>1.2903894899928463</c:v>
                </c:pt>
                <c:pt idx="28">
                  <c:v>1.2257337319182346</c:v>
                </c:pt>
                <c:pt idx="29">
                  <c:v>1.0577699208953182</c:v>
                </c:pt>
                <c:pt idx="30">
                  <c:v>0.9524340069307804</c:v>
                </c:pt>
                <c:pt idx="31">
                  <c:v>0.84826734838644213</c:v>
                </c:pt>
                <c:pt idx="32">
                  <c:v>0.89679248713136817</c:v>
                </c:pt>
                <c:pt idx="33">
                  <c:v>1.025789386864326</c:v>
                </c:pt>
                <c:pt idx="34">
                  <c:v>0.94290053485836289</c:v>
                </c:pt>
                <c:pt idx="35">
                  <c:v>1.1345175911459429</c:v>
                </c:pt>
              </c:numCache>
            </c:numRef>
          </c:val>
          <c:extLst>
            <c:ext xmlns:c16="http://schemas.microsoft.com/office/drawing/2014/chart" uri="{C3380CC4-5D6E-409C-BE32-E72D297353CC}">
              <c16:uniqueId val="{00000003-6A07-40C1-B975-BA44DDF9A40C}"/>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56786191020486465"/>
        </c:manualLayout>
      </c:layout>
      <c:barChart>
        <c:barDir val="col"/>
        <c:grouping val="clustered"/>
        <c:varyColors val="0"/>
        <c:ser>
          <c:idx val="3"/>
          <c:order val="0"/>
          <c:tx>
            <c:strRef>
              <c:f>Sheet1!$E$1</c:f>
              <c:strCache>
                <c:ptCount val="1"/>
                <c:pt idx="0">
                  <c:v>Rgb</c:v>
                </c:pt>
              </c:strCache>
            </c:strRef>
          </c:tx>
          <c:spPr>
            <a:solidFill>
              <a:schemeClr val="bg2"/>
            </a:solidFill>
          </c:spPr>
          <c:invertIfNegative val="0"/>
          <c:cat>
            <c:numRef>
              <c:f>Sheet1!$A$2:$A$37</c:f>
              <c:numCache>
                <c:formatCode>mmm\-yy</c:formatCode>
                <c:ptCount val="36"/>
                <c:pt idx="0">
                  <c:v>44317</c:v>
                </c:pt>
                <c:pt idx="1">
                  <c:v>44348</c:v>
                </c:pt>
                <c:pt idx="2">
                  <c:v>44378</c:v>
                </c:pt>
                <c:pt idx="3">
                  <c:v>44409</c:v>
                </c:pt>
                <c:pt idx="4">
                  <c:v>44440</c:v>
                </c:pt>
                <c:pt idx="5">
                  <c:v>44470</c:v>
                </c:pt>
                <c:pt idx="6">
                  <c:v>44501</c:v>
                </c:pt>
                <c:pt idx="7">
                  <c:v>44531</c:v>
                </c:pt>
                <c:pt idx="8">
                  <c:v>44562</c:v>
                </c:pt>
                <c:pt idx="9">
                  <c:v>44593</c:v>
                </c:pt>
                <c:pt idx="10">
                  <c:v>44621</c:v>
                </c:pt>
                <c:pt idx="11">
                  <c:v>44652</c:v>
                </c:pt>
                <c:pt idx="12">
                  <c:v>44682</c:v>
                </c:pt>
                <c:pt idx="13">
                  <c:v>44713</c:v>
                </c:pt>
                <c:pt idx="14">
                  <c:v>44743</c:v>
                </c:pt>
                <c:pt idx="15">
                  <c:v>44774</c:v>
                </c:pt>
                <c:pt idx="16">
                  <c:v>44805</c:v>
                </c:pt>
                <c:pt idx="17">
                  <c:v>44835</c:v>
                </c:pt>
                <c:pt idx="18">
                  <c:v>44866</c:v>
                </c:pt>
                <c:pt idx="19">
                  <c:v>44896</c:v>
                </c:pt>
                <c:pt idx="20">
                  <c:v>44927</c:v>
                </c:pt>
                <c:pt idx="21">
                  <c:v>44958</c:v>
                </c:pt>
                <c:pt idx="22">
                  <c:v>44986</c:v>
                </c:pt>
                <c:pt idx="23">
                  <c:v>45017</c:v>
                </c:pt>
                <c:pt idx="24">
                  <c:v>45047</c:v>
                </c:pt>
                <c:pt idx="25">
                  <c:v>45078</c:v>
                </c:pt>
                <c:pt idx="26">
                  <c:v>45108</c:v>
                </c:pt>
                <c:pt idx="27">
                  <c:v>45139</c:v>
                </c:pt>
                <c:pt idx="28">
                  <c:v>45170</c:v>
                </c:pt>
                <c:pt idx="29">
                  <c:v>45200</c:v>
                </c:pt>
                <c:pt idx="30">
                  <c:v>45231</c:v>
                </c:pt>
                <c:pt idx="31">
                  <c:v>45261</c:v>
                </c:pt>
                <c:pt idx="32">
                  <c:v>45292</c:v>
                </c:pt>
                <c:pt idx="33">
                  <c:v>45323</c:v>
                </c:pt>
                <c:pt idx="34">
                  <c:v>45352</c:v>
                </c:pt>
                <c:pt idx="35">
                  <c:v>45383</c:v>
                </c:pt>
              </c:numCache>
            </c:numRef>
          </c:cat>
          <c:val>
            <c:numRef>
              <c:f>Sheet1!$E$2:$E$37</c:f>
              <c:numCache>
                <c:formatCode>0%</c:formatCode>
                <c:ptCount val="36"/>
                <c:pt idx="0">
                  <c:v>0.87107203749471396</c:v>
                </c:pt>
                <c:pt idx="1">
                  <c:v>1.0344363806118404</c:v>
                </c:pt>
                <c:pt idx="2">
                  <c:v>1.2601633524016127</c:v>
                </c:pt>
                <c:pt idx="3">
                  <c:v>1.3627976986037396</c:v>
                </c:pt>
                <c:pt idx="4">
                  <c:v>1.2202875158715509</c:v>
                </c:pt>
                <c:pt idx="5">
                  <c:v>1.0713205348358339</c:v>
                </c:pt>
                <c:pt idx="6">
                  <c:v>0.88686239619905938</c:v>
                </c:pt>
                <c:pt idx="7">
                  <c:v>0.82221746425573949</c:v>
                </c:pt>
                <c:pt idx="8">
                  <c:v>0.80198503922554676</c:v>
                </c:pt>
                <c:pt idx="9">
                  <c:v>0.72425246070241345</c:v>
                </c:pt>
                <c:pt idx="10">
                  <c:v>0.83353852711319731</c:v>
                </c:pt>
                <c:pt idx="11">
                  <c:v>0.90504107573383308</c:v>
                </c:pt>
                <c:pt idx="12">
                  <c:v>1.0648596785756976</c:v>
                </c:pt>
                <c:pt idx="13">
                  <c:v>1.1429182674521738</c:v>
                </c:pt>
                <c:pt idx="14">
                  <c:v>1.3243488698973651</c:v>
                </c:pt>
                <c:pt idx="15">
                  <c:v>1.3750152791224761</c:v>
                </c:pt>
                <c:pt idx="16">
                  <c:v>1.156841109697724</c:v>
                </c:pt>
                <c:pt idx="17">
                  <c:v>1.0006453139281486</c:v>
                </c:pt>
                <c:pt idx="18">
                  <c:v>0.86514468978864889</c:v>
                </c:pt>
                <c:pt idx="19">
                  <c:v>0.80540968876277463</c:v>
                </c:pt>
                <c:pt idx="20">
                  <c:v>0.82336031811926291</c:v>
                </c:pt>
                <c:pt idx="21">
                  <c:v>0.72409875054013229</c:v>
                </c:pt>
                <c:pt idx="22">
                  <c:v>0.83523840577987774</c:v>
                </c:pt>
                <c:pt idx="23">
                  <c:v>0.89331924566836185</c:v>
                </c:pt>
                <c:pt idx="24">
                  <c:v>0.99990218460873759</c:v>
                </c:pt>
                <c:pt idx="25">
                  <c:v>1.0453101340803421</c:v>
                </c:pt>
                <c:pt idx="26">
                  <c:v>1.2514262680387314</c:v>
                </c:pt>
                <c:pt idx="27">
                  <c:v>1.3287208756121829</c:v>
                </c:pt>
                <c:pt idx="28">
                  <c:v>1.2365881053427494</c:v>
                </c:pt>
                <c:pt idx="29">
                  <c:v>1.0600662393602704</c:v>
                </c:pt>
                <c:pt idx="30">
                  <c:v>0.90491416409554304</c:v>
                </c:pt>
                <c:pt idx="31">
                  <c:v>0.89705530875380812</c:v>
                </c:pt>
                <c:pt idx="32">
                  <c:v>1.0222725248009743</c:v>
                </c:pt>
                <c:pt idx="33">
                  <c:v>0.95909209041551757</c:v>
                </c:pt>
                <c:pt idx="34">
                  <c:v>0.97869681632891614</c:v>
                </c:pt>
                <c:pt idx="35">
                  <c:v>1.0399385684545921</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C$1</c:f>
              <c:strCache>
                <c:ptCount val="1"/>
                <c:pt idx="0">
                  <c:v>Big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C$2:$C$37</c:f>
              <c:numCache>
                <c:formatCode>0%</c:formatCode>
                <c:ptCount val="36"/>
                <c:pt idx="0">
                  <c:v>0.97769335396900214</c:v>
                </c:pt>
                <c:pt idx="1">
                  <c:v>1.0684026941505411</c:v>
                </c:pt>
                <c:pt idx="2">
                  <c:v>1.227788338650863</c:v>
                </c:pt>
                <c:pt idx="3">
                  <c:v>1.2600249267555805</c:v>
                </c:pt>
                <c:pt idx="4">
                  <c:v>1.0918592645087959</c:v>
                </c:pt>
                <c:pt idx="5">
                  <c:v>0.95771669383942326</c:v>
                </c:pt>
                <c:pt idx="6">
                  <c:v>0.83219611340774713</c:v>
                </c:pt>
                <c:pt idx="7">
                  <c:v>0.81834298268274142</c:v>
                </c:pt>
                <c:pt idx="8">
                  <c:v>0.88385620277610388</c:v>
                </c:pt>
                <c:pt idx="9">
                  <c:v>0.80517208351256697</c:v>
                </c:pt>
                <c:pt idx="10">
                  <c:v>0.9015653700076367</c:v>
                </c:pt>
                <c:pt idx="11">
                  <c:v>0.96767243413039483</c:v>
                </c:pt>
                <c:pt idx="12">
                  <c:v>1.1135997973792224</c:v>
                </c:pt>
                <c:pt idx="13">
                  <c:v>1.1319284492778312</c:v>
                </c:pt>
                <c:pt idx="14">
                  <c:v>1.2471325483184159</c:v>
                </c:pt>
                <c:pt idx="15">
                  <c:v>1.2700266471810697</c:v>
                </c:pt>
                <c:pt idx="16">
                  <c:v>1.0558129473154825</c:v>
                </c:pt>
                <c:pt idx="17">
                  <c:v>0.96994353867049321</c:v>
                </c:pt>
                <c:pt idx="18">
                  <c:v>0.82763802860581237</c:v>
                </c:pt>
                <c:pt idx="19">
                  <c:v>0.82565195282496984</c:v>
                </c:pt>
                <c:pt idx="20">
                  <c:v>0.8734375393789986</c:v>
                </c:pt>
                <c:pt idx="21">
                  <c:v>0.77022486702200921</c:v>
                </c:pt>
                <c:pt idx="22">
                  <c:v>0.86712822471444584</c:v>
                </c:pt>
                <c:pt idx="23">
                  <c:v>0.92604347311977919</c:v>
                </c:pt>
                <c:pt idx="24">
                  <c:v>1.0342509203635326</c:v>
                </c:pt>
                <c:pt idx="25">
                  <c:v>1.0937835038941166</c:v>
                </c:pt>
                <c:pt idx="26">
                  <c:v>1.2287083096919564</c:v>
                </c:pt>
                <c:pt idx="27">
                  <c:v>1.3004179911042999</c:v>
                </c:pt>
                <c:pt idx="28">
                  <c:v>1.1552634977634784</c:v>
                </c:pt>
                <c:pt idx="29">
                  <c:v>0.98258002329880667</c:v>
                </c:pt>
                <c:pt idx="30">
                  <c:v>0.86772511051917489</c:v>
                </c:pt>
                <c:pt idx="31">
                  <c:v>0.90043653912940158</c:v>
                </c:pt>
                <c:pt idx="32">
                  <c:v>0.93139931325784975</c:v>
                </c:pt>
                <c:pt idx="33">
                  <c:v>0.96374922439900401</c:v>
                </c:pt>
                <c:pt idx="34">
                  <c:v>1.0313290190154365</c:v>
                </c:pt>
                <c:pt idx="35">
                  <c:v>1.0735224433277097</c:v>
                </c:pt>
              </c:numCache>
            </c:numRef>
          </c:val>
          <c:extLst>
            <c:ext xmlns:c16="http://schemas.microsoft.com/office/drawing/2014/chart" uri="{C3380CC4-5D6E-409C-BE32-E72D297353CC}">
              <c16:uniqueId val="{00000000-9B64-4614-A4EF-2F0C825129CF}"/>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G$1</c:f>
              <c:strCache>
                <c:ptCount val="1"/>
                <c:pt idx="0">
                  <c:v>Small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G$2:$G$37</c:f>
              <c:numCache>
                <c:formatCode>0%</c:formatCode>
                <c:ptCount val="36"/>
                <c:pt idx="0">
                  <c:v>0.9636844996456132</c:v>
                </c:pt>
                <c:pt idx="1">
                  <c:v>1.0460366940388319</c:v>
                </c:pt>
                <c:pt idx="2">
                  <c:v>1.206116351645163</c:v>
                </c:pt>
                <c:pt idx="3">
                  <c:v>1.2983131053207304</c:v>
                </c:pt>
                <c:pt idx="4">
                  <c:v>1.1358603251460164</c:v>
                </c:pt>
                <c:pt idx="5">
                  <c:v>0.9702994879909782</c:v>
                </c:pt>
                <c:pt idx="6">
                  <c:v>0.85871354305643566</c:v>
                </c:pt>
                <c:pt idx="7">
                  <c:v>0.8056932104732506</c:v>
                </c:pt>
                <c:pt idx="8">
                  <c:v>0.77400606192522703</c:v>
                </c:pt>
                <c:pt idx="9">
                  <c:v>0.74539979888853203</c:v>
                </c:pt>
                <c:pt idx="10">
                  <c:v>0.86961761722764874</c:v>
                </c:pt>
                <c:pt idx="11">
                  <c:v>0.91340763521759294</c:v>
                </c:pt>
                <c:pt idx="12">
                  <c:v>1.0968873056153734</c:v>
                </c:pt>
                <c:pt idx="13">
                  <c:v>1.121420955790694</c:v>
                </c:pt>
                <c:pt idx="14">
                  <c:v>1.2937617960728616</c:v>
                </c:pt>
                <c:pt idx="15">
                  <c:v>1.3365071579810675</c:v>
                </c:pt>
                <c:pt idx="16">
                  <c:v>1.0661333313576895</c:v>
                </c:pt>
                <c:pt idx="17">
                  <c:v>1.0286682748202165</c:v>
                </c:pt>
                <c:pt idx="18">
                  <c:v>0.917528066601354</c:v>
                </c:pt>
                <c:pt idx="19">
                  <c:v>0.83666199850174361</c:v>
                </c:pt>
                <c:pt idx="20">
                  <c:v>0.78742626362763024</c:v>
                </c:pt>
                <c:pt idx="21">
                  <c:v>0.72135732236310157</c:v>
                </c:pt>
                <c:pt idx="22">
                  <c:v>0.81876857082936849</c:v>
                </c:pt>
                <c:pt idx="23">
                  <c:v>0.90068396403738837</c:v>
                </c:pt>
                <c:pt idx="24">
                  <c:v>1.0445500290499452</c:v>
                </c:pt>
                <c:pt idx="25">
                  <c:v>1.1062416580562486</c:v>
                </c:pt>
                <c:pt idx="26">
                  <c:v>1.2463776939126952</c:v>
                </c:pt>
                <c:pt idx="27">
                  <c:v>1.2903894899928463</c:v>
                </c:pt>
                <c:pt idx="28">
                  <c:v>1.2257337319182346</c:v>
                </c:pt>
                <c:pt idx="29">
                  <c:v>1.0577699208953182</c:v>
                </c:pt>
                <c:pt idx="30">
                  <c:v>0.9524340069307804</c:v>
                </c:pt>
                <c:pt idx="31">
                  <c:v>0.84826734838644213</c:v>
                </c:pt>
                <c:pt idx="32">
                  <c:v>0.89679248713136817</c:v>
                </c:pt>
                <c:pt idx="33">
                  <c:v>1.025789386864326</c:v>
                </c:pt>
                <c:pt idx="34">
                  <c:v>0.94290053485836289</c:v>
                </c:pt>
                <c:pt idx="35">
                  <c:v>1.1345175911459429</c:v>
                </c:pt>
              </c:numCache>
            </c:numRef>
          </c:val>
          <c:extLst>
            <c:ext xmlns:c16="http://schemas.microsoft.com/office/drawing/2014/chart" uri="{C3380CC4-5D6E-409C-BE32-E72D297353CC}">
              <c16:uniqueId val="{00000000-21BF-47A7-B366-E3F0AD114BCE}"/>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G$1</c:f>
              <c:strCache>
                <c:ptCount val="1"/>
                <c:pt idx="0">
                  <c:v>Small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G$2:$G$37</c:f>
              <c:numCache>
                <c:formatCode>0%</c:formatCode>
                <c:ptCount val="36"/>
                <c:pt idx="0">
                  <c:v>0.9636844996456132</c:v>
                </c:pt>
                <c:pt idx="1">
                  <c:v>1.0460366940388319</c:v>
                </c:pt>
                <c:pt idx="2">
                  <c:v>1.206116351645163</c:v>
                </c:pt>
                <c:pt idx="3">
                  <c:v>1.2983131053207304</c:v>
                </c:pt>
                <c:pt idx="4">
                  <c:v>1.1358603251460164</c:v>
                </c:pt>
                <c:pt idx="5">
                  <c:v>0.9702994879909782</c:v>
                </c:pt>
                <c:pt idx="6">
                  <c:v>0.85871354305643566</c:v>
                </c:pt>
                <c:pt idx="7">
                  <c:v>0.8056932104732506</c:v>
                </c:pt>
                <c:pt idx="8">
                  <c:v>0.77400606192522703</c:v>
                </c:pt>
                <c:pt idx="9">
                  <c:v>0.74539979888853203</c:v>
                </c:pt>
                <c:pt idx="10">
                  <c:v>0.86961761722764874</c:v>
                </c:pt>
                <c:pt idx="11">
                  <c:v>0.91340763521759294</c:v>
                </c:pt>
                <c:pt idx="12">
                  <c:v>1.0968873056153734</c:v>
                </c:pt>
                <c:pt idx="13">
                  <c:v>1.121420955790694</c:v>
                </c:pt>
                <c:pt idx="14">
                  <c:v>1.2937617960728616</c:v>
                </c:pt>
                <c:pt idx="15">
                  <c:v>1.3365071579810675</c:v>
                </c:pt>
                <c:pt idx="16">
                  <c:v>1.0661333313576895</c:v>
                </c:pt>
                <c:pt idx="17">
                  <c:v>1.0286682748202165</c:v>
                </c:pt>
                <c:pt idx="18">
                  <c:v>0.917528066601354</c:v>
                </c:pt>
                <c:pt idx="19">
                  <c:v>0.83666199850174361</c:v>
                </c:pt>
                <c:pt idx="20">
                  <c:v>0.78742626362763024</c:v>
                </c:pt>
                <c:pt idx="21">
                  <c:v>0.72135732236310157</c:v>
                </c:pt>
                <c:pt idx="22">
                  <c:v>0.81876857082936849</c:v>
                </c:pt>
                <c:pt idx="23">
                  <c:v>0.90068396403738837</c:v>
                </c:pt>
                <c:pt idx="24">
                  <c:v>1.0445500290499452</c:v>
                </c:pt>
                <c:pt idx="25">
                  <c:v>1.1062416580562486</c:v>
                </c:pt>
                <c:pt idx="26">
                  <c:v>1.2463776939126952</c:v>
                </c:pt>
                <c:pt idx="27">
                  <c:v>1.2903894899928463</c:v>
                </c:pt>
                <c:pt idx="28">
                  <c:v>1.2257337319182346</c:v>
                </c:pt>
                <c:pt idx="29">
                  <c:v>1.0577699208953182</c:v>
                </c:pt>
                <c:pt idx="30">
                  <c:v>0.9524340069307804</c:v>
                </c:pt>
                <c:pt idx="31">
                  <c:v>0.84826734838644213</c:v>
                </c:pt>
                <c:pt idx="32">
                  <c:v>0.89679248713136817</c:v>
                </c:pt>
                <c:pt idx="33">
                  <c:v>1.025789386864326</c:v>
                </c:pt>
                <c:pt idx="34">
                  <c:v>0.94290053485836289</c:v>
                </c:pt>
                <c:pt idx="35">
                  <c:v>1.1345175911459429</c:v>
                </c:pt>
              </c:numCache>
            </c:numRef>
          </c:val>
          <c:extLst>
            <c:ext xmlns:c16="http://schemas.microsoft.com/office/drawing/2014/chart" uri="{C3380CC4-5D6E-409C-BE32-E72D297353CC}">
              <c16:uniqueId val="{00000000-3CBE-4AE8-80EA-8E325A05E683}"/>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56786191020486465"/>
        </c:manualLayout>
      </c:layout>
      <c:barChart>
        <c:barDir val="col"/>
        <c:grouping val="clustered"/>
        <c:varyColors val="0"/>
        <c:ser>
          <c:idx val="3"/>
          <c:order val="0"/>
          <c:tx>
            <c:strRef>
              <c:f>Sheet1!$E$1</c:f>
              <c:strCache>
                <c:ptCount val="1"/>
                <c:pt idx="0">
                  <c:v>Rgb</c:v>
                </c:pt>
              </c:strCache>
            </c:strRef>
          </c:tx>
          <c:spPr>
            <a:solidFill>
              <a:schemeClr val="bg2"/>
            </a:solidFill>
          </c:spPr>
          <c:invertIfNegative val="0"/>
          <c:cat>
            <c:numRef>
              <c:f>Sheet1!$A$2:$A$37</c:f>
              <c:numCache>
                <c:formatCode>mmm\-yy</c:formatCode>
                <c:ptCount val="36"/>
                <c:pt idx="0">
                  <c:v>44317</c:v>
                </c:pt>
                <c:pt idx="1">
                  <c:v>44348</c:v>
                </c:pt>
                <c:pt idx="2">
                  <c:v>44378</c:v>
                </c:pt>
                <c:pt idx="3">
                  <c:v>44409</c:v>
                </c:pt>
                <c:pt idx="4">
                  <c:v>44440</c:v>
                </c:pt>
                <c:pt idx="5">
                  <c:v>44470</c:v>
                </c:pt>
                <c:pt idx="6">
                  <c:v>44501</c:v>
                </c:pt>
                <c:pt idx="7">
                  <c:v>44531</c:v>
                </c:pt>
                <c:pt idx="8">
                  <c:v>44562</c:v>
                </c:pt>
                <c:pt idx="9">
                  <c:v>44593</c:v>
                </c:pt>
                <c:pt idx="10">
                  <c:v>44621</c:v>
                </c:pt>
                <c:pt idx="11">
                  <c:v>44652</c:v>
                </c:pt>
                <c:pt idx="12">
                  <c:v>44682</c:v>
                </c:pt>
                <c:pt idx="13">
                  <c:v>44713</c:v>
                </c:pt>
                <c:pt idx="14">
                  <c:v>44743</c:v>
                </c:pt>
                <c:pt idx="15">
                  <c:v>44774</c:v>
                </c:pt>
                <c:pt idx="16">
                  <c:v>44805</c:v>
                </c:pt>
                <c:pt idx="17">
                  <c:v>44835</c:v>
                </c:pt>
                <c:pt idx="18">
                  <c:v>44866</c:v>
                </c:pt>
                <c:pt idx="19">
                  <c:v>44896</c:v>
                </c:pt>
                <c:pt idx="20">
                  <c:v>44927</c:v>
                </c:pt>
                <c:pt idx="21">
                  <c:v>44958</c:v>
                </c:pt>
                <c:pt idx="22">
                  <c:v>44986</c:v>
                </c:pt>
                <c:pt idx="23">
                  <c:v>45017</c:v>
                </c:pt>
                <c:pt idx="24">
                  <c:v>45047</c:v>
                </c:pt>
                <c:pt idx="25">
                  <c:v>45078</c:v>
                </c:pt>
                <c:pt idx="26">
                  <c:v>45108</c:v>
                </c:pt>
                <c:pt idx="27">
                  <c:v>45139</c:v>
                </c:pt>
                <c:pt idx="28">
                  <c:v>45170</c:v>
                </c:pt>
                <c:pt idx="29">
                  <c:v>45200</c:v>
                </c:pt>
                <c:pt idx="30">
                  <c:v>45231</c:v>
                </c:pt>
                <c:pt idx="31">
                  <c:v>45261</c:v>
                </c:pt>
                <c:pt idx="32">
                  <c:v>45292</c:v>
                </c:pt>
                <c:pt idx="33">
                  <c:v>45323</c:v>
                </c:pt>
                <c:pt idx="34">
                  <c:v>45352</c:v>
                </c:pt>
                <c:pt idx="35">
                  <c:v>45383</c:v>
                </c:pt>
              </c:numCache>
            </c:numRef>
          </c:cat>
          <c:val>
            <c:numRef>
              <c:f>Sheet1!$E$2:$E$37</c:f>
              <c:numCache>
                <c:formatCode>0%</c:formatCode>
                <c:ptCount val="36"/>
                <c:pt idx="0">
                  <c:v>0.87107203749471396</c:v>
                </c:pt>
                <c:pt idx="1">
                  <c:v>1.0344363806118404</c:v>
                </c:pt>
                <c:pt idx="2">
                  <c:v>1.2601633524016127</c:v>
                </c:pt>
                <c:pt idx="3">
                  <c:v>1.3627976986037396</c:v>
                </c:pt>
                <c:pt idx="4">
                  <c:v>1.2202875158715509</c:v>
                </c:pt>
                <c:pt idx="5">
                  <c:v>1.0713205348358339</c:v>
                </c:pt>
                <c:pt idx="6">
                  <c:v>0.88686239619905938</c:v>
                </c:pt>
                <c:pt idx="7">
                  <c:v>0.82221746425573949</c:v>
                </c:pt>
                <c:pt idx="8">
                  <c:v>0.80198503922554676</c:v>
                </c:pt>
                <c:pt idx="9">
                  <c:v>0.72425246070241345</c:v>
                </c:pt>
                <c:pt idx="10">
                  <c:v>0.83353852711319731</c:v>
                </c:pt>
                <c:pt idx="11">
                  <c:v>0.90504107573383308</c:v>
                </c:pt>
                <c:pt idx="12">
                  <c:v>1.0648596785756976</c:v>
                </c:pt>
                <c:pt idx="13">
                  <c:v>1.1429182674521738</c:v>
                </c:pt>
                <c:pt idx="14">
                  <c:v>1.3243488698973651</c:v>
                </c:pt>
                <c:pt idx="15">
                  <c:v>1.3750152791224761</c:v>
                </c:pt>
                <c:pt idx="16">
                  <c:v>1.156841109697724</c:v>
                </c:pt>
                <c:pt idx="17">
                  <c:v>1.0006453139281486</c:v>
                </c:pt>
                <c:pt idx="18">
                  <c:v>0.86514468978864889</c:v>
                </c:pt>
                <c:pt idx="19">
                  <c:v>0.80540968876277463</c:v>
                </c:pt>
                <c:pt idx="20">
                  <c:v>0.82336031811926291</c:v>
                </c:pt>
                <c:pt idx="21">
                  <c:v>0.72409875054013229</c:v>
                </c:pt>
                <c:pt idx="22">
                  <c:v>0.83523840577987774</c:v>
                </c:pt>
                <c:pt idx="23">
                  <c:v>0.89331924566836185</c:v>
                </c:pt>
                <c:pt idx="24">
                  <c:v>0.99990218460873759</c:v>
                </c:pt>
                <c:pt idx="25">
                  <c:v>1.0453101340803421</c:v>
                </c:pt>
                <c:pt idx="26">
                  <c:v>1.2514262680387314</c:v>
                </c:pt>
                <c:pt idx="27">
                  <c:v>1.3287208756121829</c:v>
                </c:pt>
                <c:pt idx="28">
                  <c:v>1.2365881053427494</c:v>
                </c:pt>
                <c:pt idx="29">
                  <c:v>1.0600662393602704</c:v>
                </c:pt>
                <c:pt idx="30">
                  <c:v>0.90491416409554304</c:v>
                </c:pt>
                <c:pt idx="31">
                  <c:v>0.89705530875380812</c:v>
                </c:pt>
                <c:pt idx="32">
                  <c:v>1.0222725248009743</c:v>
                </c:pt>
                <c:pt idx="33">
                  <c:v>0.95909209041551757</c:v>
                </c:pt>
                <c:pt idx="34">
                  <c:v>0.97869681632891614</c:v>
                </c:pt>
                <c:pt idx="35">
                  <c:v>1.0399385684545921</c:v>
                </c:pt>
              </c:numCache>
            </c:numRef>
          </c:val>
          <c:extLst>
            <c:ext xmlns:c16="http://schemas.microsoft.com/office/drawing/2014/chart" uri="{C3380CC4-5D6E-409C-BE32-E72D297353CC}">
              <c16:uniqueId val="{00000000-D010-4ADB-9B73-BF9B36FE3842}"/>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03062232603219E-2"/>
          <c:y val="0.11501253847322537"/>
          <c:w val="0.96552354726914169"/>
          <c:h val="0.94320261756785895"/>
        </c:manualLayout>
      </c:layout>
      <c:barChart>
        <c:barDir val="col"/>
        <c:grouping val="clustered"/>
        <c:varyColors val="0"/>
        <c:ser>
          <c:idx val="3"/>
          <c:order val="0"/>
          <c:tx>
            <c:strRef>
              <c:f>Sheet1!$E$1</c:f>
              <c:strCache>
                <c:ptCount val="1"/>
                <c:pt idx="0">
                  <c:v>Nrgb</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E$2:$E$37</c:f>
              <c:numCache>
                <c:formatCode>0%</c:formatCode>
                <c:ptCount val="36"/>
                <c:pt idx="0">
                  <c:v>0.97346623595315596</c:v>
                </c:pt>
                <c:pt idx="1">
                  <c:v>1.0813626903488831</c:v>
                </c:pt>
                <c:pt idx="2">
                  <c:v>1.3072521133945396</c:v>
                </c:pt>
                <c:pt idx="3">
                  <c:v>1.3561873664469997</c:v>
                </c:pt>
                <c:pt idx="4">
                  <c:v>1.0898344432297895</c:v>
                </c:pt>
                <c:pt idx="5">
                  <c:v>0.88818527580076378</c:v>
                </c:pt>
                <c:pt idx="6">
                  <c:v>0.82040801349671721</c:v>
                </c:pt>
                <c:pt idx="7">
                  <c:v>0.92884068947869902</c:v>
                </c:pt>
                <c:pt idx="8">
                  <c:v>0.70958580508109725</c:v>
                </c:pt>
                <c:pt idx="9">
                  <c:v>0.62519713036216695</c:v>
                </c:pt>
                <c:pt idx="10">
                  <c:v>0.74014261308297413</c:v>
                </c:pt>
                <c:pt idx="11">
                  <c:v>0.94458038542152689</c:v>
                </c:pt>
                <c:pt idx="12">
                  <c:v>1.1010776516684742</c:v>
                </c:pt>
                <c:pt idx="13">
                  <c:v>1.2038247347286628</c:v>
                </c:pt>
                <c:pt idx="14">
                  <c:v>1.3819916874247298</c:v>
                </c:pt>
                <c:pt idx="15">
                  <c:v>1.4659290315492048</c:v>
                </c:pt>
                <c:pt idx="16">
                  <c:v>1.0938482636191424</c:v>
                </c:pt>
                <c:pt idx="17">
                  <c:v>0.97774590008408524</c:v>
                </c:pt>
                <c:pt idx="18">
                  <c:v>0.83163780148087829</c:v>
                </c:pt>
                <c:pt idx="19">
                  <c:v>0.92443899549705777</c:v>
                </c:pt>
                <c:pt idx="20">
                  <c:v>0.74983994709141588</c:v>
                </c:pt>
                <c:pt idx="21">
                  <c:v>0.64691968696880864</c:v>
                </c:pt>
                <c:pt idx="22">
                  <c:v>0.75565548841350183</c:v>
                </c:pt>
                <c:pt idx="23">
                  <c:v>0.88878856229882952</c:v>
                </c:pt>
                <c:pt idx="24">
                  <c:v>1.0291509922797555</c:v>
                </c:pt>
                <c:pt idx="25">
                  <c:v>1.1249568456998233</c:v>
                </c:pt>
                <c:pt idx="26">
                  <c:v>1.4078546885182839</c:v>
                </c:pt>
                <c:pt idx="27">
                  <c:v>1.4831419063050926</c:v>
                </c:pt>
                <c:pt idx="28">
                  <c:v>1.1973999712167878</c:v>
                </c:pt>
                <c:pt idx="29">
                  <c:v>0.95702186544084877</c:v>
                </c:pt>
                <c:pt idx="30">
                  <c:v>0.78691274365855679</c:v>
                </c:pt>
                <c:pt idx="31">
                  <c:v>0.97235730210829541</c:v>
                </c:pt>
                <c:pt idx="32">
                  <c:v>0.91585505205963347</c:v>
                </c:pt>
                <c:pt idx="33">
                  <c:v>0.9285825080337341</c:v>
                </c:pt>
                <c:pt idx="34">
                  <c:v>0.99989489099506379</c:v>
                </c:pt>
                <c:pt idx="35">
                  <c:v>1.1556675489115686</c:v>
                </c:pt>
              </c:numCache>
            </c:numRef>
          </c:val>
          <c:extLst>
            <c:ext xmlns:c16="http://schemas.microsoft.com/office/drawing/2014/chart" uri="{C3380CC4-5D6E-409C-BE32-E72D297353CC}">
              <c16:uniqueId val="{00000003-5FED-4CF9-B2A1-636C1E7435E8}"/>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C$1</c:f>
              <c:strCache>
                <c:ptCount val="1"/>
                <c:pt idx="0">
                  <c:v>Big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C$2:$C$37</c:f>
              <c:numCache>
                <c:formatCode>0%</c:formatCode>
                <c:ptCount val="36"/>
                <c:pt idx="0">
                  <c:v>0.97769335396900214</c:v>
                </c:pt>
                <c:pt idx="1">
                  <c:v>1.0684026941505411</c:v>
                </c:pt>
                <c:pt idx="2">
                  <c:v>1.227788338650863</c:v>
                </c:pt>
                <c:pt idx="3">
                  <c:v>1.2600249267555805</c:v>
                </c:pt>
                <c:pt idx="4">
                  <c:v>1.0918592645087959</c:v>
                </c:pt>
                <c:pt idx="5">
                  <c:v>0.95771669383942326</c:v>
                </c:pt>
                <c:pt idx="6">
                  <c:v>0.83219611340774713</c:v>
                </c:pt>
                <c:pt idx="7">
                  <c:v>0.81834298268274142</c:v>
                </c:pt>
                <c:pt idx="8">
                  <c:v>0.88385620277610388</c:v>
                </c:pt>
                <c:pt idx="9">
                  <c:v>0.80517208351256697</c:v>
                </c:pt>
                <c:pt idx="10">
                  <c:v>0.9015653700076367</c:v>
                </c:pt>
                <c:pt idx="11">
                  <c:v>0.96767243413039483</c:v>
                </c:pt>
                <c:pt idx="12">
                  <c:v>1.1135997973792224</c:v>
                </c:pt>
                <c:pt idx="13">
                  <c:v>1.1319284492778312</c:v>
                </c:pt>
                <c:pt idx="14">
                  <c:v>1.2471325483184159</c:v>
                </c:pt>
                <c:pt idx="15">
                  <c:v>1.2700266471810697</c:v>
                </c:pt>
                <c:pt idx="16">
                  <c:v>1.0558129473154825</c:v>
                </c:pt>
                <c:pt idx="17">
                  <c:v>0.96994353867049321</c:v>
                </c:pt>
                <c:pt idx="18">
                  <c:v>0.82763802860581237</c:v>
                </c:pt>
                <c:pt idx="19">
                  <c:v>0.82565195282496984</c:v>
                </c:pt>
                <c:pt idx="20">
                  <c:v>0.8734375393789986</c:v>
                </c:pt>
                <c:pt idx="21">
                  <c:v>0.77022486702200921</c:v>
                </c:pt>
                <c:pt idx="22">
                  <c:v>0.86712822471444584</c:v>
                </c:pt>
                <c:pt idx="23">
                  <c:v>0.92604347311977919</c:v>
                </c:pt>
                <c:pt idx="24">
                  <c:v>1.0342509203635326</c:v>
                </c:pt>
                <c:pt idx="25">
                  <c:v>1.0937835038941166</c:v>
                </c:pt>
                <c:pt idx="26">
                  <c:v>1.2287083096919564</c:v>
                </c:pt>
                <c:pt idx="27">
                  <c:v>1.3004179911042999</c:v>
                </c:pt>
                <c:pt idx="28">
                  <c:v>1.1552634977634784</c:v>
                </c:pt>
                <c:pt idx="29">
                  <c:v>0.98258002329880667</c:v>
                </c:pt>
                <c:pt idx="30">
                  <c:v>0.86772511051917489</c:v>
                </c:pt>
                <c:pt idx="31">
                  <c:v>0.90043653912940158</c:v>
                </c:pt>
                <c:pt idx="32">
                  <c:v>0.93139931325784975</c:v>
                </c:pt>
                <c:pt idx="33">
                  <c:v>0.96374922439900401</c:v>
                </c:pt>
                <c:pt idx="34">
                  <c:v>1.0313290190154365</c:v>
                </c:pt>
                <c:pt idx="35">
                  <c:v>1.0735224433277097</c:v>
                </c:pt>
              </c:numCache>
            </c:numRef>
          </c:val>
          <c:extLst>
            <c:ext xmlns:c16="http://schemas.microsoft.com/office/drawing/2014/chart" uri="{C3380CC4-5D6E-409C-BE32-E72D297353CC}">
              <c16:uniqueId val="{00000003-DDC5-4BB0-9697-B3C6B8123A4B}"/>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D$1</c:f>
              <c:strCache>
                <c:ptCount val="1"/>
                <c:pt idx="0">
                  <c:v>Can</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D$2:$D$37</c:f>
              <c:numCache>
                <c:formatCode>0%</c:formatCode>
                <c:ptCount val="36"/>
                <c:pt idx="0">
                  <c:v>0.97735978615950803</c:v>
                </c:pt>
                <c:pt idx="1">
                  <c:v>1.083530041128921</c:v>
                </c:pt>
                <c:pt idx="2">
                  <c:v>1.3669011866997434</c:v>
                </c:pt>
                <c:pt idx="3">
                  <c:v>1.3536110961997165</c:v>
                </c:pt>
                <c:pt idx="4">
                  <c:v>1.0282181550884235</c:v>
                </c:pt>
                <c:pt idx="5">
                  <c:v>0.89833467402918188</c:v>
                </c:pt>
                <c:pt idx="6">
                  <c:v>0.81859239811754014</c:v>
                </c:pt>
                <c:pt idx="7">
                  <c:v>0.8507952229424296</c:v>
                </c:pt>
                <c:pt idx="8">
                  <c:v>0.73762939503577918</c:v>
                </c:pt>
                <c:pt idx="9">
                  <c:v>0.68218881682196497</c:v>
                </c:pt>
                <c:pt idx="10">
                  <c:v>0.7575796813250365</c:v>
                </c:pt>
                <c:pt idx="11">
                  <c:v>0.92055483630650836</c:v>
                </c:pt>
                <c:pt idx="12">
                  <c:v>1.0915680840017985</c:v>
                </c:pt>
                <c:pt idx="13">
                  <c:v>1.1929137612785661</c:v>
                </c:pt>
                <c:pt idx="14">
                  <c:v>1.3948021002648652</c:v>
                </c:pt>
                <c:pt idx="15">
                  <c:v>1.4188639801888696</c:v>
                </c:pt>
                <c:pt idx="16">
                  <c:v>1.0783770646851871</c:v>
                </c:pt>
                <c:pt idx="17">
                  <c:v>0.97033613215978043</c:v>
                </c:pt>
                <c:pt idx="18">
                  <c:v>0.85675401083014457</c:v>
                </c:pt>
                <c:pt idx="19">
                  <c:v>0.89843213710149927</c:v>
                </c:pt>
                <c:pt idx="20">
                  <c:v>0.73048896520605999</c:v>
                </c:pt>
                <c:pt idx="21">
                  <c:v>0.66703125832099486</c:v>
                </c:pt>
                <c:pt idx="22">
                  <c:v>0.74060926482889589</c:v>
                </c:pt>
                <c:pt idx="23">
                  <c:v>0.86104337079131998</c:v>
                </c:pt>
                <c:pt idx="24">
                  <c:v>1.0180034856251248</c:v>
                </c:pt>
                <c:pt idx="25">
                  <c:v>1.1633321402422965</c:v>
                </c:pt>
                <c:pt idx="26">
                  <c:v>1.3983819729257696</c:v>
                </c:pt>
                <c:pt idx="27">
                  <c:v>1.4382841999907983</c:v>
                </c:pt>
                <c:pt idx="28">
                  <c:v>1.2147328953855996</c:v>
                </c:pt>
                <c:pt idx="29">
                  <c:v>1.0064172304867123</c:v>
                </c:pt>
                <c:pt idx="30">
                  <c:v>0.84639471783698872</c:v>
                </c:pt>
                <c:pt idx="31">
                  <c:v>0.91528049835943937</c:v>
                </c:pt>
                <c:pt idx="32">
                  <c:v>0.84244983935623963</c:v>
                </c:pt>
                <c:pt idx="33">
                  <c:v>0.92038639532838662</c:v>
                </c:pt>
                <c:pt idx="34">
                  <c:v>1.0481721229143046</c:v>
                </c:pt>
                <c:pt idx="35">
                  <c:v>1.1889916424010691</c:v>
                </c:pt>
              </c:numCache>
            </c:numRef>
          </c:val>
          <c:extLst>
            <c:ext xmlns:c16="http://schemas.microsoft.com/office/drawing/2014/chart" uri="{C3380CC4-5D6E-409C-BE32-E72D297353CC}">
              <c16:uniqueId val="{00000003-BAFB-416C-8099-2FCB03A791A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G$1</c:f>
              <c:strCache>
                <c:ptCount val="1"/>
                <c:pt idx="0">
                  <c:v>Small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G$2:$G$37</c:f>
              <c:numCache>
                <c:formatCode>0%</c:formatCode>
                <c:ptCount val="36"/>
                <c:pt idx="0">
                  <c:v>0.9636844996456132</c:v>
                </c:pt>
                <c:pt idx="1">
                  <c:v>1.0460366940388319</c:v>
                </c:pt>
                <c:pt idx="2">
                  <c:v>1.206116351645163</c:v>
                </c:pt>
                <c:pt idx="3">
                  <c:v>1.2983131053207304</c:v>
                </c:pt>
                <c:pt idx="4">
                  <c:v>1.1358603251460164</c:v>
                </c:pt>
                <c:pt idx="5">
                  <c:v>0.9702994879909782</c:v>
                </c:pt>
                <c:pt idx="6">
                  <c:v>0.85871354305643566</c:v>
                </c:pt>
                <c:pt idx="7">
                  <c:v>0.8056932104732506</c:v>
                </c:pt>
                <c:pt idx="8">
                  <c:v>0.77400606192522703</c:v>
                </c:pt>
                <c:pt idx="9">
                  <c:v>0.74539979888853203</c:v>
                </c:pt>
                <c:pt idx="10">
                  <c:v>0.86961761722764874</c:v>
                </c:pt>
                <c:pt idx="11">
                  <c:v>0.91340763521759294</c:v>
                </c:pt>
                <c:pt idx="12">
                  <c:v>1.0968873056153734</c:v>
                </c:pt>
                <c:pt idx="13">
                  <c:v>1.121420955790694</c:v>
                </c:pt>
                <c:pt idx="14">
                  <c:v>1.2937617960728616</c:v>
                </c:pt>
                <c:pt idx="15">
                  <c:v>1.3365071579810675</c:v>
                </c:pt>
                <c:pt idx="16">
                  <c:v>1.0661333313576895</c:v>
                </c:pt>
                <c:pt idx="17">
                  <c:v>1.0286682748202165</c:v>
                </c:pt>
                <c:pt idx="18">
                  <c:v>0.917528066601354</c:v>
                </c:pt>
                <c:pt idx="19">
                  <c:v>0.83666199850174361</c:v>
                </c:pt>
                <c:pt idx="20">
                  <c:v>0.78742626362763024</c:v>
                </c:pt>
                <c:pt idx="21">
                  <c:v>0.72135732236310157</c:v>
                </c:pt>
                <c:pt idx="22">
                  <c:v>0.81876857082936849</c:v>
                </c:pt>
                <c:pt idx="23">
                  <c:v>0.90068396403738837</c:v>
                </c:pt>
                <c:pt idx="24">
                  <c:v>1.0445500290499452</c:v>
                </c:pt>
                <c:pt idx="25">
                  <c:v>1.1062416580562486</c:v>
                </c:pt>
                <c:pt idx="26">
                  <c:v>1.2463776939126952</c:v>
                </c:pt>
                <c:pt idx="27">
                  <c:v>1.2903894899928463</c:v>
                </c:pt>
                <c:pt idx="28">
                  <c:v>1.2257337319182346</c:v>
                </c:pt>
                <c:pt idx="29">
                  <c:v>1.0577699208953182</c:v>
                </c:pt>
                <c:pt idx="30">
                  <c:v>0.9524340069307804</c:v>
                </c:pt>
                <c:pt idx="31">
                  <c:v>0.84826734838644213</c:v>
                </c:pt>
                <c:pt idx="32">
                  <c:v>0.89679248713136817</c:v>
                </c:pt>
                <c:pt idx="33">
                  <c:v>1.025789386864326</c:v>
                </c:pt>
                <c:pt idx="34">
                  <c:v>0.94290053485836289</c:v>
                </c:pt>
                <c:pt idx="35">
                  <c:v>1.1345175911459429</c:v>
                </c:pt>
              </c:numCache>
            </c:numRef>
          </c:val>
          <c:extLst>
            <c:ext xmlns:c16="http://schemas.microsoft.com/office/drawing/2014/chart" uri="{C3380CC4-5D6E-409C-BE32-E72D297353CC}">
              <c16:uniqueId val="{00000003-6A07-40C1-B975-BA44DDF9A40C}"/>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fld id="{1A7B795D-DA16-47D9-BBE2-7C071A8BB0DE}" type="CELLRANGE">
                      <a:rPr lang="en-US"/>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99F-4374-933C-119751F7B1D3}"/>
                </c:ext>
              </c:extLst>
            </c:dLbl>
            <c:dLbl>
              <c:idx val="1"/>
              <c:tx>
                <c:rich>
                  <a:bodyPr/>
                  <a:lstStyle/>
                  <a:p>
                    <a:fld id="{F8CC086E-B46C-43FE-905C-4E1911166C90}"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99F-4374-933C-119751F7B1D3}"/>
                </c:ext>
              </c:extLst>
            </c:dLbl>
            <c:dLbl>
              <c:idx val="2"/>
              <c:tx>
                <c:rich>
                  <a:bodyPr/>
                  <a:lstStyle/>
                  <a:p>
                    <a:fld id="{302DB49B-192D-4311-A5A5-B582C0603F6E}"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99F-4374-933C-119751F7B1D3}"/>
                </c:ext>
              </c:extLst>
            </c:dLbl>
            <c:dLbl>
              <c:idx val="3"/>
              <c:tx>
                <c:rich>
                  <a:bodyPr/>
                  <a:lstStyle/>
                  <a:p>
                    <a:fld id="{D2940BC0-5661-4863-9BCE-E9441E418073}"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99F-4374-933C-119751F7B1D3}"/>
                </c:ext>
              </c:extLst>
            </c:dLbl>
            <c:dLbl>
              <c:idx val="4"/>
              <c:tx>
                <c:rich>
                  <a:bodyPr/>
                  <a:lstStyle/>
                  <a:p>
                    <a:fld id="{014CC2F4-4B77-49AB-A1EE-738FD4451CCC}"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99F-4374-933C-119751F7B1D3}"/>
                </c:ext>
              </c:extLst>
            </c:dLbl>
            <c:dLbl>
              <c:idx val="5"/>
              <c:tx>
                <c:rich>
                  <a:bodyPr/>
                  <a:lstStyle/>
                  <a:p>
                    <a:fld id="{EF1303E8-22B3-452C-8A7C-1614BF3FADA1}"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99F-4374-933C-119751F7B1D3}"/>
                </c:ext>
              </c:extLst>
            </c:dLbl>
            <c:dLbl>
              <c:idx val="6"/>
              <c:tx>
                <c:rich>
                  <a:bodyPr/>
                  <a:lstStyle/>
                  <a:p>
                    <a:fld id="{7E2BACAA-DB3F-42F9-B332-A11B52A597A6}"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99F-4374-933C-119751F7B1D3}"/>
                </c:ext>
              </c:extLst>
            </c:dLbl>
            <c:dLbl>
              <c:idx val="7"/>
              <c:tx>
                <c:rich>
                  <a:bodyPr/>
                  <a:lstStyle/>
                  <a:p>
                    <a:fld id="{C16E7C4E-A8CC-4A41-8DCC-A1F1CC334805}"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99F-4374-933C-119751F7B1D3}"/>
                </c:ext>
              </c:extLst>
            </c:dLbl>
            <c:dLbl>
              <c:idx val="8"/>
              <c:tx>
                <c:rich>
                  <a:bodyPr/>
                  <a:lstStyle/>
                  <a:p>
                    <a:fld id="{1C6E7151-6F2A-4E98-86E4-50B5A6513991}"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99F-4374-933C-119751F7B1D3}"/>
                </c:ext>
              </c:extLst>
            </c:dLbl>
            <c:dLbl>
              <c:idx val="9"/>
              <c:tx>
                <c:rich>
                  <a:bodyPr/>
                  <a:lstStyle/>
                  <a:p>
                    <a:fld id="{7551CFAD-D2D6-4A57-A921-A0EFC79E1C17}"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99F-4374-933C-119751F7B1D3}"/>
                </c:ext>
              </c:extLst>
            </c:dLbl>
            <c:dLbl>
              <c:idx val="10"/>
              <c:tx>
                <c:rich>
                  <a:bodyPr/>
                  <a:lstStyle/>
                  <a:p>
                    <a:fld id="{D8ADDF4A-D829-4AAA-B2E2-C910DB8CBB2C}"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99F-4374-933C-119751F7B1D3}"/>
                </c:ext>
              </c:extLst>
            </c:dLbl>
            <c:dLbl>
              <c:idx val="11"/>
              <c:tx>
                <c:rich>
                  <a:bodyPr/>
                  <a:lstStyle/>
                  <a:p>
                    <a:fld id="{B56AD417-632E-4639-AAF9-EE3A44FAFCFF}"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99F-4374-933C-119751F7B1D3}"/>
                </c:ext>
              </c:extLst>
            </c:dLbl>
            <c:dLbl>
              <c:idx val="12"/>
              <c:tx>
                <c:rich>
                  <a:bodyPr/>
                  <a:lstStyle/>
                  <a:p>
                    <a:fld id="{CF74BF53-94F4-4DC2-AF5B-25EBEB2150C0}"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99F-4374-933C-119751F7B1D3}"/>
                </c:ext>
              </c:extLst>
            </c:dLbl>
            <c:dLbl>
              <c:idx val="13"/>
              <c:tx>
                <c:rich>
                  <a:bodyPr/>
                  <a:lstStyle/>
                  <a:p>
                    <a:fld id="{9AA5E513-1CB0-4B93-8BDC-AB31823F3628}"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99F-4374-933C-119751F7B1D3}"/>
                </c:ext>
              </c:extLst>
            </c:dLbl>
            <c:dLbl>
              <c:idx val="14"/>
              <c:tx>
                <c:rich>
                  <a:bodyPr/>
                  <a:lstStyle/>
                  <a:p>
                    <a:fld id="{810A2BA9-28E1-4596-B96B-424BF02CDFDA}"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99F-4374-933C-119751F7B1D3}"/>
                </c:ext>
              </c:extLst>
            </c:dLbl>
            <c:dLbl>
              <c:idx val="15"/>
              <c:tx>
                <c:rich>
                  <a:bodyPr/>
                  <a:lstStyle/>
                  <a:p>
                    <a:fld id="{BE724B6F-1660-41C3-8563-FFF27411D2DE}"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99F-4374-933C-119751F7B1D3}"/>
                </c:ext>
              </c:extLst>
            </c:dLbl>
            <c:dLbl>
              <c:idx val="16"/>
              <c:tx>
                <c:rich>
                  <a:bodyPr/>
                  <a:lstStyle/>
                  <a:p>
                    <a:fld id="{E9864EB9-46A0-4634-89A3-E6E54CB512AB}"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17EC-4EE8-A064-668E05F5E5BB}"/>
                </c:ext>
              </c:extLst>
            </c:dLbl>
            <c:dLbl>
              <c:idx val="17"/>
              <c:tx>
                <c:rich>
                  <a:bodyPr/>
                  <a:lstStyle/>
                  <a:p>
                    <a:fld id="{51841F40-1867-4ABD-8C4D-530C596BB1C6}"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99F-4374-933C-119751F7B1D3}"/>
                </c:ext>
              </c:extLst>
            </c:dLbl>
            <c:dLbl>
              <c:idx val="18"/>
              <c:tx>
                <c:rich>
                  <a:bodyPr/>
                  <a:lstStyle/>
                  <a:p>
                    <a:fld id="{9BC741EA-CDD9-441F-9282-CD89EDCEEC77}"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05C-4186-8239-DC3766495C90}"/>
                </c:ext>
              </c:extLst>
            </c:dLbl>
            <c:dLbl>
              <c:idx val="19"/>
              <c:tx>
                <c:rich>
                  <a:bodyPr/>
                  <a:lstStyle/>
                  <a:p>
                    <a:fld id="{7ACC7A46-562B-43A5-83C3-F9C47D5D7F96}"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99F-4374-933C-119751F7B1D3}"/>
                </c:ext>
              </c:extLst>
            </c:dLbl>
            <c:dLbl>
              <c:idx val="20"/>
              <c:tx>
                <c:rich>
                  <a:bodyPr/>
                  <a:lstStyle/>
                  <a:p>
                    <a:fld id="{E744C64F-E078-4FA5-8840-B24F8FBF6269}"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99F-4374-933C-119751F7B1D3}"/>
                </c:ext>
              </c:extLst>
            </c:dLbl>
            <c:dLbl>
              <c:idx val="21"/>
              <c:tx>
                <c:rich>
                  <a:bodyPr/>
                  <a:lstStyle/>
                  <a:p>
                    <a:fld id="{B6EA36DC-0354-4AD9-BEB7-6D64DF4D97AA}"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99F-4374-933C-119751F7B1D3}"/>
                </c:ext>
              </c:extLst>
            </c:dLbl>
            <c:dLbl>
              <c:idx val="22"/>
              <c:tx>
                <c:rich>
                  <a:bodyPr/>
                  <a:lstStyle/>
                  <a:p>
                    <a:fld id="{9DBB7682-7EE5-4E40-BA95-5089B3724A74}"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99F-4374-933C-119751F7B1D3}"/>
                </c:ext>
              </c:extLst>
            </c:dLbl>
            <c:dLbl>
              <c:idx val="23"/>
              <c:tx>
                <c:rich>
                  <a:bodyPr/>
                  <a:lstStyle/>
                  <a:p>
                    <a:fld id="{1EFEE1D0-BC99-4B56-9D56-D47F79850D77}"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99F-4374-933C-119751F7B1D3}"/>
                </c:ext>
              </c:extLst>
            </c:dLbl>
            <c:dLbl>
              <c:idx val="24"/>
              <c:tx>
                <c:rich>
                  <a:bodyPr/>
                  <a:lstStyle/>
                  <a:p>
                    <a:fld id="{CDE09BFC-B5AA-43EC-AF2F-F78C7F47079C}"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99F-4374-933C-119751F7B1D3}"/>
                </c:ext>
              </c:extLst>
            </c:dLbl>
            <c:dLbl>
              <c:idx val="25"/>
              <c:tx>
                <c:rich>
                  <a:bodyPr/>
                  <a:lstStyle/>
                  <a:p>
                    <a:fld id="{70721543-67CD-480D-A669-6C5BD4C7AB7B}"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99F-4374-933C-119751F7B1D3}"/>
                </c:ext>
              </c:extLst>
            </c:dLbl>
            <c:dLbl>
              <c:idx val="26"/>
              <c:tx>
                <c:rich>
                  <a:bodyPr/>
                  <a:lstStyle/>
                  <a:p>
                    <a:fld id="{65062B2D-86C6-42DA-A70D-0D1C54DE042F}"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99F-4374-933C-119751F7B1D3}"/>
                </c:ext>
              </c:extLst>
            </c:dLbl>
            <c:dLbl>
              <c:idx val="27"/>
              <c:tx>
                <c:rich>
                  <a:bodyPr/>
                  <a:lstStyle/>
                  <a:p>
                    <a:fld id="{E05EC829-4552-4363-9936-0B8257592428}"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99F-4374-933C-119751F7B1D3}"/>
                </c:ext>
              </c:extLst>
            </c:dLbl>
            <c:dLbl>
              <c:idx val="28"/>
              <c:tx>
                <c:rich>
                  <a:bodyPr/>
                  <a:lstStyle/>
                  <a:p>
                    <a:fld id="{963A4FF3-96EF-40ED-98A4-14D422FDF1DE}"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99F-4374-933C-119751F7B1D3}"/>
                </c:ext>
              </c:extLst>
            </c:dLbl>
            <c:dLbl>
              <c:idx val="29"/>
              <c:tx>
                <c:rich>
                  <a:bodyPr/>
                  <a:lstStyle/>
                  <a:p>
                    <a:fld id="{3E292792-E7C4-4BD7-ACB8-93D03A83B8B6}"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99F-4374-933C-119751F7B1D3}"/>
                </c:ext>
              </c:extLst>
            </c:dLbl>
            <c:dLbl>
              <c:idx val="30"/>
              <c:tx>
                <c:rich>
                  <a:bodyPr/>
                  <a:lstStyle/>
                  <a:p>
                    <a:fld id="{491F27C7-D103-4D81-932A-4CBAE19AEDC1}"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99F-4374-933C-119751F7B1D3}"/>
                </c:ext>
              </c:extLst>
            </c:dLbl>
            <c:dLbl>
              <c:idx val="31"/>
              <c:tx>
                <c:rich>
                  <a:bodyPr/>
                  <a:lstStyle/>
                  <a:p>
                    <a:fld id="{382D6FAD-7681-4011-96FC-3DDB48D79512}"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99F-4374-933C-119751F7B1D3}"/>
                </c:ext>
              </c:extLst>
            </c:dLbl>
            <c:dLbl>
              <c:idx val="32"/>
              <c:tx>
                <c:rich>
                  <a:bodyPr/>
                  <a:lstStyle/>
                  <a:p>
                    <a:fld id="{9D249C46-9B9A-4969-B369-853D46CCB9BA}"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499F-4374-933C-119751F7B1D3}"/>
                </c:ext>
              </c:extLst>
            </c:dLbl>
            <c:dLbl>
              <c:idx val="33"/>
              <c:tx>
                <c:rich>
                  <a:bodyPr/>
                  <a:lstStyle/>
                  <a:p>
                    <a:fld id="{BC638313-DCFC-41BB-B6C6-21F3BEF28C6A}"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499F-4374-933C-119751F7B1D3}"/>
                </c:ext>
              </c:extLst>
            </c:dLbl>
            <c:dLbl>
              <c:idx val="34"/>
              <c:tx>
                <c:rich>
                  <a:bodyPr/>
                  <a:lstStyle/>
                  <a:p>
                    <a:fld id="{611DD93B-9EF5-41E4-B572-9F45566EEEB2}"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499F-4374-933C-119751F7B1D3}"/>
                </c:ext>
              </c:extLst>
            </c:dLbl>
            <c:dLbl>
              <c:idx val="35"/>
              <c:tx>
                <c:rich>
                  <a:bodyPr/>
                  <a:lstStyle/>
                  <a:p>
                    <a:fld id="{A73B4795-1B2B-4CA3-89AE-38D085300749}"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499F-4374-933C-119751F7B1D3}"/>
                </c:ext>
              </c:extLst>
            </c:dLbl>
            <c:dLbl>
              <c:idx val="36"/>
              <c:tx>
                <c:rich>
                  <a:bodyPr/>
                  <a:lstStyle/>
                  <a:p>
                    <a:fld id="{CA16B83E-DC38-44CC-B92D-DD5EF71552FD}"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499F-4374-933C-119751F7B1D3}"/>
                </c:ext>
              </c:extLst>
            </c:dLbl>
            <c:dLbl>
              <c:idx val="37"/>
              <c:tx>
                <c:rich>
                  <a:bodyPr/>
                  <a:lstStyle/>
                  <a:p>
                    <a:fld id="{FA505AB2-4048-4F0D-BB48-497054166A39}"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499F-4374-933C-119751F7B1D3}"/>
                </c:ext>
              </c:extLst>
            </c:dLbl>
            <c:dLbl>
              <c:idx val="38"/>
              <c:tx>
                <c:rich>
                  <a:bodyPr/>
                  <a:lstStyle/>
                  <a:p>
                    <a:fld id="{2FA777F9-59CA-423E-970D-B6FDBB7B620E}"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499F-4374-933C-119751F7B1D3}"/>
                </c:ext>
              </c:extLst>
            </c:dLbl>
            <c:dLbl>
              <c:idx val="39"/>
              <c:tx>
                <c:rich>
                  <a:bodyPr/>
                  <a:lstStyle/>
                  <a:p>
                    <a:fld id="{5AA84936-E4E8-4832-ABFD-870481E2FE90}"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499F-4374-933C-119751F7B1D3}"/>
                </c:ext>
              </c:extLst>
            </c:dLbl>
            <c:dLbl>
              <c:idx val="40"/>
              <c:tx>
                <c:rich>
                  <a:bodyPr/>
                  <a:lstStyle/>
                  <a:p>
                    <a:fld id="{9CC97ED7-2D49-4A51-A131-50845FC8D315}"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499F-4374-933C-119751F7B1D3}"/>
                </c:ext>
              </c:extLst>
            </c:dLbl>
            <c:dLbl>
              <c:idx val="41"/>
              <c:tx>
                <c:rich>
                  <a:bodyPr/>
                  <a:lstStyle/>
                  <a:p>
                    <a:fld id="{6880CAC8-44E3-4411-A5D2-37044B49768D}"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499F-4374-933C-119751F7B1D3}"/>
                </c:ext>
              </c:extLst>
            </c:dLbl>
            <c:dLbl>
              <c:idx val="42"/>
              <c:tx>
                <c:rich>
                  <a:bodyPr/>
                  <a:lstStyle/>
                  <a:p>
                    <a:fld id="{6B4104D7-5EFF-4670-89EF-35D81C10BE67}"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499F-4374-933C-119751F7B1D3}"/>
                </c:ext>
              </c:extLst>
            </c:dLbl>
            <c:dLbl>
              <c:idx val="43"/>
              <c:tx>
                <c:rich>
                  <a:bodyPr/>
                  <a:lstStyle/>
                  <a:p>
                    <a:fld id="{FA1B7AD6-064C-4BA5-A194-EA26F85ED010}"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499F-4374-933C-119751F7B1D3}"/>
                </c:ext>
              </c:extLst>
            </c:dLbl>
            <c:dLbl>
              <c:idx val="44"/>
              <c:tx>
                <c:rich>
                  <a:bodyPr/>
                  <a:lstStyle/>
                  <a:p>
                    <a:fld id="{EB06A60B-5B97-47C3-A24A-8CF36224B426}"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499F-4374-933C-119751F7B1D3}"/>
                </c:ext>
              </c:extLst>
            </c:dLbl>
            <c:dLbl>
              <c:idx val="45"/>
              <c:tx>
                <c:rich>
                  <a:bodyPr/>
                  <a:lstStyle/>
                  <a:p>
                    <a:fld id="{F9F3C169-E3C3-47F5-A198-C324FA55BE2D}"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499F-4374-933C-119751F7B1D3}"/>
                </c:ext>
              </c:extLst>
            </c:dLbl>
            <c:dLbl>
              <c:idx val="46"/>
              <c:tx>
                <c:rich>
                  <a:bodyPr/>
                  <a:lstStyle/>
                  <a:p>
                    <a:fld id="{8B544F68-A9DA-47A0-B92B-D091F86D3190}"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499F-4374-933C-119751F7B1D3}"/>
                </c:ext>
              </c:extLst>
            </c:dLbl>
            <c:dLbl>
              <c:idx val="47"/>
              <c:tx>
                <c:rich>
                  <a:bodyPr/>
                  <a:lstStyle/>
                  <a:p>
                    <a:fld id="{0AFDB0A7-32A6-4ED6-8D01-83B03B94A3E7}"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499F-4374-933C-119751F7B1D3}"/>
                </c:ext>
              </c:extLst>
            </c:dLbl>
            <c:dLbl>
              <c:idx val="48"/>
              <c:tx>
                <c:rich>
                  <a:bodyPr/>
                  <a:lstStyle/>
                  <a:p>
                    <a:endParaRPr lang="en-CH"/>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499F-4374-933C-119751F7B1D3}"/>
                </c:ext>
              </c:extLst>
            </c:dLbl>
            <c:dLbl>
              <c:idx val="49"/>
              <c:tx>
                <c:rich>
                  <a:bodyPr/>
                  <a:lstStyle/>
                  <a:p>
                    <a:endParaRPr lang="en-CH"/>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1</c:f>
              <c:numCache>
                <c:formatCode>General</c:formatCode>
                <c:ptCount val="50"/>
                <c:pt idx="0">
                  <c:v>0.32614219606149664</c:v>
                </c:pt>
                <c:pt idx="1">
                  <c:v>0.31664875250254537</c:v>
                </c:pt>
                <c:pt idx="2">
                  <c:v>0.27346307041982199</c:v>
                </c:pt>
                <c:pt idx="3">
                  <c:v>0.2831646688619443</c:v>
                </c:pt>
                <c:pt idx="4">
                  <c:v>0.2586347262757685</c:v>
                </c:pt>
                <c:pt idx="5">
                  <c:v>0.33786738243552095</c:v>
                </c:pt>
                <c:pt idx="6">
                  <c:v>0.39199545326509833</c:v>
                </c:pt>
                <c:pt idx="7">
                  <c:v>0.24805723261987339</c:v>
                </c:pt>
                <c:pt idx="8">
                  <c:v>0.24785938764333104</c:v>
                </c:pt>
                <c:pt idx="9">
                  <c:v>0.37074721427752688</c:v>
                </c:pt>
                <c:pt idx="10">
                  <c:v>0.24301285130226527</c:v>
                </c:pt>
                <c:pt idx="11">
                  <c:v>0.29023901513577965</c:v>
                </c:pt>
                <c:pt idx="12">
                  <c:v>0.27408514093650493</c:v>
                </c:pt>
                <c:pt idx="13">
                  <c:v>0.38048884495186663</c:v>
                </c:pt>
                <c:pt idx="14">
                  <c:v>0.30308742272142136</c:v>
                </c:pt>
                <c:pt idx="15">
                  <c:v>0.25008655716680273</c:v>
                </c:pt>
                <c:pt idx="16">
                  <c:v>0.28089700180642357</c:v>
                </c:pt>
                <c:pt idx="17">
                  <c:v>0.27117632631945737</c:v>
                </c:pt>
                <c:pt idx="18">
                  <c:v>0.29870429613658334</c:v>
                </c:pt>
                <c:pt idx="19">
                  <c:v>0.28887143469924503</c:v>
                </c:pt>
                <c:pt idx="20">
                  <c:v>0.27333685261571355</c:v>
                </c:pt>
                <c:pt idx="21">
                  <c:v>0.2713669485206564</c:v>
                </c:pt>
                <c:pt idx="22">
                  <c:v>0.37674111408113636</c:v>
                </c:pt>
                <c:pt idx="23">
                  <c:v>0.34170217411726383</c:v>
                </c:pt>
                <c:pt idx="24">
                  <c:v>0.27953887621663237</c:v>
                </c:pt>
                <c:pt idx="25">
                  <c:v>0.26139863941217595</c:v>
                </c:pt>
                <c:pt idx="26">
                  <c:v>0.28515871070852677</c:v>
                </c:pt>
                <c:pt idx="27">
                  <c:v>0.31741391390991608</c:v>
                </c:pt>
                <c:pt idx="28">
                  <c:v>0.26620342419047666</c:v>
                </c:pt>
                <c:pt idx="29">
                  <c:v>0.27032392247178932</c:v>
                </c:pt>
                <c:pt idx="30">
                  <c:v>0.25398515744663003</c:v>
                </c:pt>
                <c:pt idx="31">
                  <c:v>0.28052802243816721</c:v>
                </c:pt>
                <c:pt idx="32">
                  <c:v>0.25420735412144679</c:v>
                </c:pt>
                <c:pt idx="33">
                  <c:v>0.34032241378886918</c:v>
                </c:pt>
                <c:pt idx="34">
                  <c:v>0.29260451481690342</c:v>
                </c:pt>
                <c:pt idx="35">
                  <c:v>0.27010707272762946</c:v>
                </c:pt>
                <c:pt idx="36">
                  <c:v>0.30239907256816745</c:v>
                </c:pt>
                <c:pt idx="37">
                  <c:v>0.32976074763129964</c:v>
                </c:pt>
                <c:pt idx="38">
                  <c:v>0.32883855339035062</c:v>
                </c:pt>
                <c:pt idx="39">
                  <c:v>0.27306037067424022</c:v>
                </c:pt>
                <c:pt idx="40">
                  <c:v>0.31776436198193048</c:v>
                </c:pt>
                <c:pt idx="41">
                  <c:v>0.239223188374001</c:v>
                </c:pt>
                <c:pt idx="42">
                  <c:v>0.3262179990104076</c:v>
                </c:pt>
                <c:pt idx="43">
                  <c:v>0.27599787245298646</c:v>
                </c:pt>
                <c:pt idx="44">
                  <c:v>0.23472836573018385</c:v>
                </c:pt>
                <c:pt idx="45">
                  <c:v>0.22448270645716939</c:v>
                </c:pt>
                <c:pt idx="46">
                  <c:v>0.24585381842019011</c:v>
                </c:pt>
                <c:pt idx="47">
                  <c:v>0.29945368378448511</c:v>
                </c:pt>
              </c:numCache>
            </c:numRef>
          </c:xVal>
          <c:yVal>
            <c:numRef>
              <c:f>Sheet1!$B$2:$B$51</c:f>
              <c:numCache>
                <c:formatCode>General</c:formatCode>
                <c:ptCount val="50"/>
                <c:pt idx="0">
                  <c:v>4.036642599277978</c:v>
                </c:pt>
                <c:pt idx="1">
                  <c:v>2.8052981048554435</c:v>
                </c:pt>
                <c:pt idx="2">
                  <c:v>2.3157631776167875</c:v>
                </c:pt>
                <c:pt idx="3">
                  <c:v>3.3874534581969988</c:v>
                </c:pt>
                <c:pt idx="4">
                  <c:v>2.1946284032376746</c:v>
                </c:pt>
                <c:pt idx="5">
                  <c:v>5.5104879160966709</c:v>
                </c:pt>
                <c:pt idx="6">
                  <c:v>5.8558732345849123</c:v>
                </c:pt>
                <c:pt idx="7">
                  <c:v>0.8575959403742468</c:v>
                </c:pt>
                <c:pt idx="8">
                  <c:v>0.91815809097688295</c:v>
                </c:pt>
                <c:pt idx="9">
                  <c:v>5.1425761271539852</c:v>
                </c:pt>
                <c:pt idx="10">
                  <c:v>1.949090909090909</c:v>
                </c:pt>
                <c:pt idx="11">
                  <c:v>2.15698407241893</c:v>
                </c:pt>
                <c:pt idx="12">
                  <c:v>2.1229696158991018</c:v>
                </c:pt>
                <c:pt idx="13">
                  <c:v>6.3531066822977724</c:v>
                </c:pt>
                <c:pt idx="14">
                  <c:v>3.45</c:v>
                </c:pt>
                <c:pt idx="15">
                  <c:v>1.1538200339558573</c:v>
                </c:pt>
                <c:pt idx="16">
                  <c:v>2.313090542152096</c:v>
                </c:pt>
                <c:pt idx="17">
                  <c:v>1.4464879237757589</c:v>
                </c:pt>
                <c:pt idx="18">
                  <c:v>1.9545373823477179</c:v>
                </c:pt>
                <c:pt idx="19">
                  <c:v>2.2469486531986531</c:v>
                </c:pt>
                <c:pt idx="20">
                  <c:v>2.035958124715521</c:v>
                </c:pt>
                <c:pt idx="21">
                  <c:v>2.1883473799926714</c:v>
                </c:pt>
                <c:pt idx="22">
                  <c:v>2.9860900354071824</c:v>
                </c:pt>
                <c:pt idx="23">
                  <c:v>1.6556822982678496</c:v>
                </c:pt>
                <c:pt idx="24">
                  <c:v>0.74406457739791076</c:v>
                </c:pt>
                <c:pt idx="25">
                  <c:v>1.9397372742200329</c:v>
                </c:pt>
                <c:pt idx="26">
                  <c:v>2.4108446298227322</c:v>
                </c:pt>
                <c:pt idx="27">
                  <c:v>1.1723356009070294</c:v>
                </c:pt>
                <c:pt idx="28">
                  <c:v>2.0220286885245899</c:v>
                </c:pt>
                <c:pt idx="29">
                  <c:v>2.4238369699464801</c:v>
                </c:pt>
                <c:pt idx="30">
                  <c:v>1.7869481765834934</c:v>
                </c:pt>
                <c:pt idx="31">
                  <c:v>2.4264361078546308</c:v>
                </c:pt>
                <c:pt idx="32">
                  <c:v>1.6909884158266888</c:v>
                </c:pt>
                <c:pt idx="33">
                  <c:v>1.3602050326188257</c:v>
                </c:pt>
                <c:pt idx="34">
                  <c:v>0.90998268897864976</c:v>
                </c:pt>
                <c:pt idx="35">
                  <c:v>1.7486426061961036</c:v>
                </c:pt>
                <c:pt idx="36">
                  <c:v>3.7153641207815276</c:v>
                </c:pt>
                <c:pt idx="37">
                  <c:v>0.63358208955223883</c:v>
                </c:pt>
                <c:pt idx="38">
                  <c:v>3.2248565965583174</c:v>
                </c:pt>
                <c:pt idx="39">
                  <c:v>0.36051693404634583</c:v>
                </c:pt>
                <c:pt idx="40">
                  <c:v>1.3776626367299942</c:v>
                </c:pt>
                <c:pt idx="41">
                  <c:v>1.8659543467702768</c:v>
                </c:pt>
                <c:pt idx="42">
                  <c:v>1.4394765539803707</c:v>
                </c:pt>
                <c:pt idx="43">
                  <c:v>1.628901239846088</c:v>
                </c:pt>
                <c:pt idx="44">
                  <c:v>1.3637426900584795</c:v>
                </c:pt>
                <c:pt idx="45">
                  <c:v>0.60488798370672103</c:v>
                </c:pt>
                <c:pt idx="46">
                  <c:v>1.4079956188389924</c:v>
                </c:pt>
                <c:pt idx="47">
                  <c:v>1.1113460183227626</c:v>
                </c:pt>
              </c:numCache>
            </c:numRef>
          </c:yVal>
          <c:smooth val="0"/>
          <c:extLst>
            <c:ext xmlns:c15="http://schemas.microsoft.com/office/drawing/2012/chart" uri="{02D57815-91ED-43cb-92C2-25804820EDAC}">
              <c15:datalabelsRange>
                <c15:f>Sheet1!$E$2:$E$51</c15:f>
                <c15:dlblRangeCache>
                  <c:ptCount val="50"/>
                  <c:pt idx="0">
                    <c:v>Fish Fingers 450g</c:v>
                  </c:pt>
                  <c:pt idx="1">
                    <c:v>Fillets Merluzzo 360g</c:v>
                  </c:pt>
                  <c:pt idx="2">
                    <c:v>Fish Fingers 300g</c:v>
                  </c:pt>
                  <c:pt idx="3">
                    <c:v>Croccole 300g</c:v>
                  </c:pt>
                  <c:pt idx="4">
                    <c:v>Fillets Merluzzo 300g</c:v>
                  </c:pt>
                  <c:pt idx="5">
                    <c:v>Fillets Nasello 250g</c:v>
                  </c:pt>
                  <c:pt idx="6">
                    <c:v>Seafood Misto 400g</c:v>
                  </c:pt>
                  <c:pt idx="7">
                    <c:v>Fillets Branzino 200g</c:v>
                  </c:pt>
                  <c:pt idx="8">
                    <c:v>Fillets Orata 200g</c:v>
                  </c:pt>
                  <c:pt idx="9">
                    <c:v>Seafood Misto 400g</c:v>
                  </c:pt>
                  <c:pt idx="10">
                    <c:v>Fish Fingers Platessa 250g</c:v>
                  </c:pt>
                  <c:pt idx="11">
                    <c:v>Fish Bar Merluzzo 245g</c:v>
                  </c:pt>
                  <c:pt idx="12">
                    <c:v>Croccole Spinaci 300g</c:v>
                  </c:pt>
                  <c:pt idx="13">
                    <c:v>Fillets Nasello 500g</c:v>
                  </c:pt>
                  <c:pt idx="14">
                    <c:v>Fish Fingers 750g</c:v>
                  </c:pt>
                  <c:pt idx="15">
                    <c:v>Fillets Salmone 200g</c:v>
                  </c:pt>
                  <c:pt idx="16">
                    <c:v>Gratinati Pomodoro 380g</c:v>
                  </c:pt>
                  <c:pt idx="17">
                    <c:v>Mugnaia 250g</c:v>
                  </c:pt>
                  <c:pt idx="18">
                    <c:v>Fish &amp; Crock 250g</c:v>
                  </c:pt>
                  <c:pt idx="19">
                    <c:v>Gratinati Erbe 380g</c:v>
                  </c:pt>
                  <c:pt idx="20">
                    <c:v>Fish Burger Salmone 170g</c:v>
                  </c:pt>
                  <c:pt idx="21">
                    <c:v>Gratinati Patate 380g</c:v>
                  </c:pt>
                  <c:pt idx="22">
                    <c:v>Seafood Misto 400g</c:v>
                  </c:pt>
                  <c:pt idx="23">
                    <c:v>Fillets Orata 500g</c:v>
                  </c:pt>
                  <c:pt idx="24">
                    <c:v>Fillets Platessa 230g</c:v>
                  </c:pt>
                  <c:pt idx="25">
                    <c:v>Croccole Semi 300g</c:v>
                  </c:pt>
                  <c:pt idx="26">
                    <c:v>Fish Bar Salmone 220g</c:v>
                  </c:pt>
                  <c:pt idx="27">
                    <c:v>Fish Fingers Salmone 200g</c:v>
                  </c:pt>
                  <c:pt idx="28">
                    <c:v>Fish Burger Pollack 170g</c:v>
                  </c:pt>
                  <c:pt idx="29">
                    <c:v>Gratinati Salmone 280g</c:v>
                  </c:pt>
                  <c:pt idx="30">
                    <c:v>Gratinati Funghi 380g</c:v>
                  </c:pt>
                  <c:pt idx="31">
                    <c:v>Fish Bar Merluzzo 240g</c:v>
                  </c:pt>
                  <c:pt idx="32">
                    <c:v>Gratinati Zucchine 380g</c:v>
                  </c:pt>
                  <c:pt idx="33">
                    <c:v>Fish Fingers Pastella 224g</c:v>
                  </c:pt>
                  <c:pt idx="34">
                    <c:v>Croccole Senza 250g</c:v>
                  </c:pt>
                  <c:pt idx="35">
                    <c:v>Coated Totani 225g</c:v>
                  </c:pt>
                  <c:pt idx="36">
                    <c:v>Croccole 600g</c:v>
                  </c:pt>
                  <c:pt idx="37">
                    <c:v>Fish Fingers Senza 300g</c:v>
                  </c:pt>
                  <c:pt idx="38">
                    <c:v>Fish Burger Chips 227g</c:v>
                  </c:pt>
                  <c:pt idx="39">
                    <c:v>Fish Fingers Omega 3 250g</c:v>
                  </c:pt>
                  <c:pt idx="40">
                    <c:v>Fillets Tonno 230g</c:v>
                  </c:pt>
                  <c:pt idx="41">
                    <c:v>Delizie Limone 250g</c:v>
                  </c:pt>
                  <c:pt idx="42">
                    <c:v>Natural Vongola 400g</c:v>
                  </c:pt>
                  <c:pt idx="43">
                    <c:v>Fish Bar Merluzzo 240g</c:v>
                  </c:pt>
                  <c:pt idx="44">
                    <c:v>Fillets Trota 200g</c:v>
                  </c:pt>
                  <c:pt idx="45">
                    <c:v>Fillets Nordico 240g</c:v>
                  </c:pt>
                  <c:pt idx="46">
                    <c:v>Delizie Pomodoro 250g</c:v>
                  </c:pt>
                  <c:pt idx="47">
                    <c:v>Fillets Eglefino 230g</c:v>
                  </c:pt>
                  <c:pt idx="48">
                    <c:v>Pepite Salmone 180g</c:v>
                  </c:pt>
                  <c:pt idx="49">
                    <c:v>Pepite Merluzzo 200g</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56786191020486465"/>
        </c:manualLayout>
      </c:layout>
      <c:barChart>
        <c:barDir val="col"/>
        <c:grouping val="clustered"/>
        <c:varyColors val="0"/>
        <c:ser>
          <c:idx val="3"/>
          <c:order val="0"/>
          <c:tx>
            <c:strRef>
              <c:f>Sheet1!$E$1</c:f>
              <c:strCache>
                <c:ptCount val="1"/>
                <c:pt idx="0">
                  <c:v>Rgb</c:v>
                </c:pt>
              </c:strCache>
            </c:strRef>
          </c:tx>
          <c:spPr>
            <a:solidFill>
              <a:schemeClr val="bg2"/>
            </a:solidFill>
          </c:spPr>
          <c:invertIfNegative val="0"/>
          <c:cat>
            <c:numRef>
              <c:f>Sheet1!$A$2:$A$37</c:f>
              <c:numCache>
                <c:formatCode>mmm\-yy</c:formatCode>
                <c:ptCount val="36"/>
                <c:pt idx="0">
                  <c:v>44317</c:v>
                </c:pt>
                <c:pt idx="1">
                  <c:v>44348</c:v>
                </c:pt>
                <c:pt idx="2">
                  <c:v>44378</c:v>
                </c:pt>
                <c:pt idx="3">
                  <c:v>44409</c:v>
                </c:pt>
                <c:pt idx="4">
                  <c:v>44440</c:v>
                </c:pt>
                <c:pt idx="5">
                  <c:v>44470</c:v>
                </c:pt>
                <c:pt idx="6">
                  <c:v>44501</c:v>
                </c:pt>
                <c:pt idx="7">
                  <c:v>44531</c:v>
                </c:pt>
                <c:pt idx="8">
                  <c:v>44562</c:v>
                </c:pt>
                <c:pt idx="9">
                  <c:v>44593</c:v>
                </c:pt>
                <c:pt idx="10">
                  <c:v>44621</c:v>
                </c:pt>
                <c:pt idx="11">
                  <c:v>44652</c:v>
                </c:pt>
                <c:pt idx="12">
                  <c:v>44682</c:v>
                </c:pt>
                <c:pt idx="13">
                  <c:v>44713</c:v>
                </c:pt>
                <c:pt idx="14">
                  <c:v>44743</c:v>
                </c:pt>
                <c:pt idx="15">
                  <c:v>44774</c:v>
                </c:pt>
                <c:pt idx="16">
                  <c:v>44805</c:v>
                </c:pt>
                <c:pt idx="17">
                  <c:v>44835</c:v>
                </c:pt>
                <c:pt idx="18">
                  <c:v>44866</c:v>
                </c:pt>
                <c:pt idx="19">
                  <c:v>44896</c:v>
                </c:pt>
                <c:pt idx="20">
                  <c:v>44927</c:v>
                </c:pt>
                <c:pt idx="21">
                  <c:v>44958</c:v>
                </c:pt>
                <c:pt idx="22">
                  <c:v>44986</c:v>
                </c:pt>
                <c:pt idx="23">
                  <c:v>45017</c:v>
                </c:pt>
                <c:pt idx="24">
                  <c:v>45047</c:v>
                </c:pt>
                <c:pt idx="25">
                  <c:v>45078</c:v>
                </c:pt>
                <c:pt idx="26">
                  <c:v>45108</c:v>
                </c:pt>
                <c:pt idx="27">
                  <c:v>45139</c:v>
                </c:pt>
                <c:pt idx="28">
                  <c:v>45170</c:v>
                </c:pt>
                <c:pt idx="29">
                  <c:v>45200</c:v>
                </c:pt>
                <c:pt idx="30">
                  <c:v>45231</c:v>
                </c:pt>
                <c:pt idx="31">
                  <c:v>45261</c:v>
                </c:pt>
                <c:pt idx="32">
                  <c:v>45292</c:v>
                </c:pt>
                <c:pt idx="33">
                  <c:v>45323</c:v>
                </c:pt>
                <c:pt idx="34">
                  <c:v>45352</c:v>
                </c:pt>
                <c:pt idx="35">
                  <c:v>45383</c:v>
                </c:pt>
              </c:numCache>
            </c:numRef>
          </c:cat>
          <c:val>
            <c:numRef>
              <c:f>Sheet1!$E$2:$E$37</c:f>
              <c:numCache>
                <c:formatCode>0%</c:formatCode>
                <c:ptCount val="36"/>
                <c:pt idx="0">
                  <c:v>0.87107203749471396</c:v>
                </c:pt>
                <c:pt idx="1">
                  <c:v>1.0344363806118404</c:v>
                </c:pt>
                <c:pt idx="2">
                  <c:v>1.2601633524016127</c:v>
                </c:pt>
                <c:pt idx="3">
                  <c:v>1.3627976986037396</c:v>
                </c:pt>
                <c:pt idx="4">
                  <c:v>1.2202875158715509</c:v>
                </c:pt>
                <c:pt idx="5">
                  <c:v>1.0713205348358339</c:v>
                </c:pt>
                <c:pt idx="6">
                  <c:v>0.88686239619905938</c:v>
                </c:pt>
                <c:pt idx="7">
                  <c:v>0.82221746425573949</c:v>
                </c:pt>
                <c:pt idx="8">
                  <c:v>0.80198503922554676</c:v>
                </c:pt>
                <c:pt idx="9">
                  <c:v>0.72425246070241345</c:v>
                </c:pt>
                <c:pt idx="10">
                  <c:v>0.83353852711319731</c:v>
                </c:pt>
                <c:pt idx="11">
                  <c:v>0.90504107573383308</c:v>
                </c:pt>
                <c:pt idx="12">
                  <c:v>1.0648596785756976</c:v>
                </c:pt>
                <c:pt idx="13">
                  <c:v>1.1429182674521738</c:v>
                </c:pt>
                <c:pt idx="14">
                  <c:v>1.3243488698973651</c:v>
                </c:pt>
                <c:pt idx="15">
                  <c:v>1.3750152791224761</c:v>
                </c:pt>
                <c:pt idx="16">
                  <c:v>1.156841109697724</c:v>
                </c:pt>
                <c:pt idx="17">
                  <c:v>1.0006453139281486</c:v>
                </c:pt>
                <c:pt idx="18">
                  <c:v>0.86514468978864889</c:v>
                </c:pt>
                <c:pt idx="19">
                  <c:v>0.80540968876277463</c:v>
                </c:pt>
                <c:pt idx="20">
                  <c:v>0.82336031811926291</c:v>
                </c:pt>
                <c:pt idx="21">
                  <c:v>0.72409875054013229</c:v>
                </c:pt>
                <c:pt idx="22">
                  <c:v>0.83523840577987774</c:v>
                </c:pt>
                <c:pt idx="23">
                  <c:v>0.89331924566836185</c:v>
                </c:pt>
                <c:pt idx="24">
                  <c:v>0.99990218460873759</c:v>
                </c:pt>
                <c:pt idx="25">
                  <c:v>1.0453101340803421</c:v>
                </c:pt>
                <c:pt idx="26">
                  <c:v>1.2514262680387314</c:v>
                </c:pt>
                <c:pt idx="27">
                  <c:v>1.3287208756121829</c:v>
                </c:pt>
                <c:pt idx="28">
                  <c:v>1.2365881053427494</c:v>
                </c:pt>
                <c:pt idx="29">
                  <c:v>1.0600662393602704</c:v>
                </c:pt>
                <c:pt idx="30">
                  <c:v>0.90491416409554304</c:v>
                </c:pt>
                <c:pt idx="31">
                  <c:v>0.89705530875380812</c:v>
                </c:pt>
                <c:pt idx="32">
                  <c:v>1.0222725248009743</c:v>
                </c:pt>
                <c:pt idx="33">
                  <c:v>0.95909209041551757</c:v>
                </c:pt>
                <c:pt idx="34">
                  <c:v>0.97869681632891614</c:v>
                </c:pt>
                <c:pt idx="35">
                  <c:v>1.0399385684545921</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H$1</c:f>
              <c:strCache>
                <c:ptCount val="1"/>
                <c:pt idx="0">
                  <c:v>Total Beer</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H$2:$H$37</c:f>
              <c:numCache>
                <c:formatCode>0%</c:formatCode>
                <c:ptCount val="36"/>
                <c:pt idx="0">
                  <c:v>0.95546131454801952</c:v>
                </c:pt>
                <c:pt idx="1">
                  <c:v>1.0658820616078615</c:v>
                </c:pt>
                <c:pt idx="2">
                  <c:v>1.2845151692566505</c:v>
                </c:pt>
                <c:pt idx="3">
                  <c:v>1.3313017548720483</c:v>
                </c:pt>
                <c:pt idx="4">
                  <c:v>1.1068184803119951</c:v>
                </c:pt>
                <c:pt idx="5">
                  <c:v>0.94899677223263834</c:v>
                </c:pt>
                <c:pt idx="6">
                  <c:v>0.83477183537813959</c:v>
                </c:pt>
                <c:pt idx="7">
                  <c:v>0.84011161209200691</c:v>
                </c:pt>
                <c:pt idx="8">
                  <c:v>0.77917016473858225</c:v>
                </c:pt>
                <c:pt idx="9">
                  <c:v>0.71206172491546882</c:v>
                </c:pt>
                <c:pt idx="10">
                  <c:v>0.81106709556909162</c:v>
                </c:pt>
                <c:pt idx="11">
                  <c:v>0.9277477499727792</c:v>
                </c:pt>
                <c:pt idx="12">
                  <c:v>1.0920086483852394</c:v>
                </c:pt>
                <c:pt idx="13">
                  <c:v>1.1645640879461192</c:v>
                </c:pt>
                <c:pt idx="14">
                  <c:v>1.3394712489027132</c:v>
                </c:pt>
                <c:pt idx="15">
                  <c:v>1.385364724773833</c:v>
                </c:pt>
                <c:pt idx="16">
                  <c:v>1.09543210519944</c:v>
                </c:pt>
                <c:pt idx="17">
                  <c:v>0.98674858460748094</c:v>
                </c:pt>
                <c:pt idx="18">
                  <c:v>0.84917082857101733</c:v>
                </c:pt>
                <c:pt idx="19">
                  <c:v>0.85719303641823441</c:v>
                </c:pt>
                <c:pt idx="20">
                  <c:v>0.78197004161366457</c:v>
                </c:pt>
                <c:pt idx="21">
                  <c:v>0.69703071129708638</c:v>
                </c:pt>
                <c:pt idx="22">
                  <c:v>0.79071387982439756</c:v>
                </c:pt>
                <c:pt idx="23">
                  <c:v>0.88455450114308931</c:v>
                </c:pt>
                <c:pt idx="24">
                  <c:v>1.0196652421871197</c:v>
                </c:pt>
                <c:pt idx="25">
                  <c:v>1.1154654321101694</c:v>
                </c:pt>
                <c:pt idx="26">
                  <c:v>1.3246385889547703</c:v>
                </c:pt>
                <c:pt idx="27">
                  <c:v>1.3903689367482381</c:v>
                </c:pt>
                <c:pt idx="28">
                  <c:v>1.2142901567469886</c:v>
                </c:pt>
                <c:pt idx="29">
                  <c:v>1.0101815115591093</c:v>
                </c:pt>
                <c:pt idx="30">
                  <c:v>0.86238905481134409</c:v>
                </c:pt>
                <c:pt idx="31">
                  <c:v>0.90873194300402316</c:v>
                </c:pt>
                <c:pt idx="32">
                  <c:v>0.90889323356956364</c:v>
                </c:pt>
                <c:pt idx="33">
                  <c:v>0.95210305170981779</c:v>
                </c:pt>
                <c:pt idx="34">
                  <c:v>1.0118490056185914</c:v>
                </c:pt>
                <c:pt idx="35">
                  <c:v>1.1271547091020271</c:v>
                </c:pt>
              </c:numCache>
            </c:numRef>
          </c:val>
          <c:extLst>
            <c:ext xmlns:c16="http://schemas.microsoft.com/office/drawing/2014/chart" uri="{C3380CC4-5D6E-409C-BE32-E72D297353CC}">
              <c16:uniqueId val="{00000001-0A2C-49BD-A8FC-8FC0C3CC6F8F}"/>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03062232603219E-2"/>
          <c:y val="0.11501253847322537"/>
          <c:w val="0.96552354726914169"/>
          <c:h val="0.94320261756785895"/>
        </c:manualLayout>
      </c:layout>
      <c:barChart>
        <c:barDir val="col"/>
        <c:grouping val="clustered"/>
        <c:varyColors val="0"/>
        <c:ser>
          <c:idx val="3"/>
          <c:order val="0"/>
          <c:tx>
            <c:strRef>
              <c:f>Sheet1!$E$1</c:f>
              <c:strCache>
                <c:ptCount val="1"/>
                <c:pt idx="0">
                  <c:v>Nrgb</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E$2:$E$37</c:f>
              <c:numCache>
                <c:formatCode>0%</c:formatCode>
                <c:ptCount val="36"/>
                <c:pt idx="0">
                  <c:v>0.97346623595315596</c:v>
                </c:pt>
                <c:pt idx="1">
                  <c:v>1.0813626903488831</c:v>
                </c:pt>
                <c:pt idx="2">
                  <c:v>1.3072521133945396</c:v>
                </c:pt>
                <c:pt idx="3">
                  <c:v>1.3561873664469997</c:v>
                </c:pt>
                <c:pt idx="4">
                  <c:v>1.0898344432297895</c:v>
                </c:pt>
                <c:pt idx="5">
                  <c:v>0.88818527580076378</c:v>
                </c:pt>
                <c:pt idx="6">
                  <c:v>0.82040801349671721</c:v>
                </c:pt>
                <c:pt idx="7">
                  <c:v>0.92884068947869902</c:v>
                </c:pt>
                <c:pt idx="8">
                  <c:v>0.70958580508109725</c:v>
                </c:pt>
                <c:pt idx="9">
                  <c:v>0.62519713036216695</c:v>
                </c:pt>
                <c:pt idx="10">
                  <c:v>0.74014261308297413</c:v>
                </c:pt>
                <c:pt idx="11">
                  <c:v>0.94458038542152689</c:v>
                </c:pt>
                <c:pt idx="12">
                  <c:v>1.1010776516684742</c:v>
                </c:pt>
                <c:pt idx="13">
                  <c:v>1.2038247347286628</c:v>
                </c:pt>
                <c:pt idx="14">
                  <c:v>1.3819916874247298</c:v>
                </c:pt>
                <c:pt idx="15">
                  <c:v>1.4659290315492048</c:v>
                </c:pt>
                <c:pt idx="16">
                  <c:v>1.0938482636191424</c:v>
                </c:pt>
                <c:pt idx="17">
                  <c:v>0.97774590008408524</c:v>
                </c:pt>
                <c:pt idx="18">
                  <c:v>0.83163780148087829</c:v>
                </c:pt>
                <c:pt idx="19">
                  <c:v>0.92443899549705777</c:v>
                </c:pt>
                <c:pt idx="20">
                  <c:v>0.74983994709141588</c:v>
                </c:pt>
                <c:pt idx="21">
                  <c:v>0.64691968696880864</c:v>
                </c:pt>
                <c:pt idx="22">
                  <c:v>0.75565548841350183</c:v>
                </c:pt>
                <c:pt idx="23">
                  <c:v>0.88878856229882952</c:v>
                </c:pt>
                <c:pt idx="24">
                  <c:v>1.0291509922797555</c:v>
                </c:pt>
                <c:pt idx="25">
                  <c:v>1.1249568456998233</c:v>
                </c:pt>
                <c:pt idx="26">
                  <c:v>1.4078546885182839</c:v>
                </c:pt>
                <c:pt idx="27">
                  <c:v>1.4831419063050926</c:v>
                </c:pt>
                <c:pt idx="28">
                  <c:v>1.1973999712167878</c:v>
                </c:pt>
                <c:pt idx="29">
                  <c:v>0.95702186544084877</c:v>
                </c:pt>
                <c:pt idx="30">
                  <c:v>0.78691274365855679</c:v>
                </c:pt>
                <c:pt idx="31">
                  <c:v>0.97235730210829541</c:v>
                </c:pt>
                <c:pt idx="32">
                  <c:v>0.91585505205963347</c:v>
                </c:pt>
                <c:pt idx="33">
                  <c:v>0.9285825080337341</c:v>
                </c:pt>
                <c:pt idx="34">
                  <c:v>0.99989489099506379</c:v>
                </c:pt>
                <c:pt idx="35">
                  <c:v>1.1556675489115686</c:v>
                </c:pt>
              </c:numCache>
            </c:numRef>
          </c:val>
          <c:extLst>
            <c:ext xmlns:c16="http://schemas.microsoft.com/office/drawing/2014/chart" uri="{C3380CC4-5D6E-409C-BE32-E72D297353CC}">
              <c16:uniqueId val="{00000003-5FED-4CF9-B2A1-636C1E7435E8}"/>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C$1</c:f>
              <c:strCache>
                <c:ptCount val="1"/>
                <c:pt idx="0">
                  <c:v>Big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C$2:$C$37</c:f>
              <c:numCache>
                <c:formatCode>0%</c:formatCode>
                <c:ptCount val="36"/>
                <c:pt idx="0">
                  <c:v>0.97769335396900214</c:v>
                </c:pt>
                <c:pt idx="1">
                  <c:v>1.0684026941505411</c:v>
                </c:pt>
                <c:pt idx="2">
                  <c:v>1.227788338650863</c:v>
                </c:pt>
                <c:pt idx="3">
                  <c:v>1.2600249267555805</c:v>
                </c:pt>
                <c:pt idx="4">
                  <c:v>1.0918592645087959</c:v>
                </c:pt>
                <c:pt idx="5">
                  <c:v>0.95771669383942326</c:v>
                </c:pt>
                <c:pt idx="6">
                  <c:v>0.83219611340774713</c:v>
                </c:pt>
                <c:pt idx="7">
                  <c:v>0.81834298268274142</c:v>
                </c:pt>
                <c:pt idx="8">
                  <c:v>0.88385620277610388</c:v>
                </c:pt>
                <c:pt idx="9">
                  <c:v>0.80517208351256697</c:v>
                </c:pt>
                <c:pt idx="10">
                  <c:v>0.9015653700076367</c:v>
                </c:pt>
                <c:pt idx="11">
                  <c:v>0.96767243413039483</c:v>
                </c:pt>
                <c:pt idx="12">
                  <c:v>1.1135997973792224</c:v>
                </c:pt>
                <c:pt idx="13">
                  <c:v>1.1319284492778312</c:v>
                </c:pt>
                <c:pt idx="14">
                  <c:v>1.2471325483184159</c:v>
                </c:pt>
                <c:pt idx="15">
                  <c:v>1.2700266471810697</c:v>
                </c:pt>
                <c:pt idx="16">
                  <c:v>1.0558129473154825</c:v>
                </c:pt>
                <c:pt idx="17">
                  <c:v>0.96994353867049321</c:v>
                </c:pt>
                <c:pt idx="18">
                  <c:v>0.82763802860581237</c:v>
                </c:pt>
                <c:pt idx="19">
                  <c:v>0.82565195282496984</c:v>
                </c:pt>
                <c:pt idx="20">
                  <c:v>0.8734375393789986</c:v>
                </c:pt>
                <c:pt idx="21">
                  <c:v>0.77022486702200921</c:v>
                </c:pt>
                <c:pt idx="22">
                  <c:v>0.86712822471444584</c:v>
                </c:pt>
                <c:pt idx="23">
                  <c:v>0.92604347311977919</c:v>
                </c:pt>
                <c:pt idx="24">
                  <c:v>1.0342509203635326</c:v>
                </c:pt>
                <c:pt idx="25">
                  <c:v>1.0937835038941166</c:v>
                </c:pt>
                <c:pt idx="26">
                  <c:v>1.2287083096919564</c:v>
                </c:pt>
                <c:pt idx="27">
                  <c:v>1.3004179911042999</c:v>
                </c:pt>
                <c:pt idx="28">
                  <c:v>1.1552634977634784</c:v>
                </c:pt>
                <c:pt idx="29">
                  <c:v>0.98258002329880667</c:v>
                </c:pt>
                <c:pt idx="30">
                  <c:v>0.86772511051917489</c:v>
                </c:pt>
                <c:pt idx="31">
                  <c:v>0.90043653912940158</c:v>
                </c:pt>
                <c:pt idx="32">
                  <c:v>0.93139931325784975</c:v>
                </c:pt>
                <c:pt idx="33">
                  <c:v>0.96374922439900401</c:v>
                </c:pt>
                <c:pt idx="34">
                  <c:v>1.0313290190154365</c:v>
                </c:pt>
                <c:pt idx="35">
                  <c:v>1.0735224433277097</c:v>
                </c:pt>
              </c:numCache>
            </c:numRef>
          </c:val>
          <c:extLst>
            <c:ext xmlns:c16="http://schemas.microsoft.com/office/drawing/2014/chart" uri="{C3380CC4-5D6E-409C-BE32-E72D297353CC}">
              <c16:uniqueId val="{00000003-DDC5-4BB0-9697-B3C6B8123A4B}"/>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D$1</c:f>
              <c:strCache>
                <c:ptCount val="1"/>
                <c:pt idx="0">
                  <c:v>Can</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D$2:$D$37</c:f>
              <c:numCache>
                <c:formatCode>0%</c:formatCode>
                <c:ptCount val="36"/>
                <c:pt idx="0">
                  <c:v>0.97735978615950803</c:v>
                </c:pt>
                <c:pt idx="1">
                  <c:v>1.083530041128921</c:v>
                </c:pt>
                <c:pt idx="2">
                  <c:v>1.3669011866997434</c:v>
                </c:pt>
                <c:pt idx="3">
                  <c:v>1.3536110961997165</c:v>
                </c:pt>
                <c:pt idx="4">
                  <c:v>1.0282181550884235</c:v>
                </c:pt>
                <c:pt idx="5">
                  <c:v>0.89833467402918188</c:v>
                </c:pt>
                <c:pt idx="6">
                  <c:v>0.81859239811754014</c:v>
                </c:pt>
                <c:pt idx="7">
                  <c:v>0.8507952229424296</c:v>
                </c:pt>
                <c:pt idx="8">
                  <c:v>0.73762939503577918</c:v>
                </c:pt>
                <c:pt idx="9">
                  <c:v>0.68218881682196497</c:v>
                </c:pt>
                <c:pt idx="10">
                  <c:v>0.7575796813250365</c:v>
                </c:pt>
                <c:pt idx="11">
                  <c:v>0.92055483630650836</c:v>
                </c:pt>
                <c:pt idx="12">
                  <c:v>1.0915680840017985</c:v>
                </c:pt>
                <c:pt idx="13">
                  <c:v>1.1929137612785661</c:v>
                </c:pt>
                <c:pt idx="14">
                  <c:v>1.3948021002648652</c:v>
                </c:pt>
                <c:pt idx="15">
                  <c:v>1.4188639801888696</c:v>
                </c:pt>
                <c:pt idx="16">
                  <c:v>1.0783770646851871</c:v>
                </c:pt>
                <c:pt idx="17">
                  <c:v>0.97033613215978043</c:v>
                </c:pt>
                <c:pt idx="18">
                  <c:v>0.85675401083014457</c:v>
                </c:pt>
                <c:pt idx="19">
                  <c:v>0.89843213710149927</c:v>
                </c:pt>
                <c:pt idx="20">
                  <c:v>0.73048896520605999</c:v>
                </c:pt>
                <c:pt idx="21">
                  <c:v>0.66703125832099486</c:v>
                </c:pt>
                <c:pt idx="22">
                  <c:v>0.74060926482889589</c:v>
                </c:pt>
                <c:pt idx="23">
                  <c:v>0.86104337079131998</c:v>
                </c:pt>
                <c:pt idx="24">
                  <c:v>1.0180034856251248</c:v>
                </c:pt>
                <c:pt idx="25">
                  <c:v>1.1633321402422965</c:v>
                </c:pt>
                <c:pt idx="26">
                  <c:v>1.3983819729257696</c:v>
                </c:pt>
                <c:pt idx="27">
                  <c:v>1.4382841999907983</c:v>
                </c:pt>
                <c:pt idx="28">
                  <c:v>1.2147328953855996</c:v>
                </c:pt>
                <c:pt idx="29">
                  <c:v>1.0064172304867123</c:v>
                </c:pt>
                <c:pt idx="30">
                  <c:v>0.84639471783698872</c:v>
                </c:pt>
                <c:pt idx="31">
                  <c:v>0.91528049835943937</c:v>
                </c:pt>
                <c:pt idx="32">
                  <c:v>0.84244983935623963</c:v>
                </c:pt>
                <c:pt idx="33">
                  <c:v>0.92038639532838662</c:v>
                </c:pt>
                <c:pt idx="34">
                  <c:v>1.0481721229143046</c:v>
                </c:pt>
                <c:pt idx="35">
                  <c:v>1.1889916424010691</c:v>
                </c:pt>
              </c:numCache>
            </c:numRef>
          </c:val>
          <c:extLst>
            <c:ext xmlns:c16="http://schemas.microsoft.com/office/drawing/2014/chart" uri="{C3380CC4-5D6E-409C-BE32-E72D297353CC}">
              <c16:uniqueId val="{00000003-BAFB-416C-8099-2FCB03A791A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G$1</c:f>
              <c:strCache>
                <c:ptCount val="1"/>
                <c:pt idx="0">
                  <c:v>Small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G$2:$G$37</c:f>
              <c:numCache>
                <c:formatCode>0%</c:formatCode>
                <c:ptCount val="36"/>
                <c:pt idx="0">
                  <c:v>0.9636844996456132</c:v>
                </c:pt>
                <c:pt idx="1">
                  <c:v>1.0460366940388319</c:v>
                </c:pt>
                <c:pt idx="2">
                  <c:v>1.206116351645163</c:v>
                </c:pt>
                <c:pt idx="3">
                  <c:v>1.2983131053207304</c:v>
                </c:pt>
                <c:pt idx="4">
                  <c:v>1.1358603251460164</c:v>
                </c:pt>
                <c:pt idx="5">
                  <c:v>0.9702994879909782</c:v>
                </c:pt>
                <c:pt idx="6">
                  <c:v>0.85871354305643566</c:v>
                </c:pt>
                <c:pt idx="7">
                  <c:v>0.8056932104732506</c:v>
                </c:pt>
                <c:pt idx="8">
                  <c:v>0.77400606192522703</c:v>
                </c:pt>
                <c:pt idx="9">
                  <c:v>0.74539979888853203</c:v>
                </c:pt>
                <c:pt idx="10">
                  <c:v>0.86961761722764874</c:v>
                </c:pt>
                <c:pt idx="11">
                  <c:v>0.91340763521759294</c:v>
                </c:pt>
                <c:pt idx="12">
                  <c:v>1.0968873056153734</c:v>
                </c:pt>
                <c:pt idx="13">
                  <c:v>1.121420955790694</c:v>
                </c:pt>
                <c:pt idx="14">
                  <c:v>1.2937617960728616</c:v>
                </c:pt>
                <c:pt idx="15">
                  <c:v>1.3365071579810675</c:v>
                </c:pt>
                <c:pt idx="16">
                  <c:v>1.0661333313576895</c:v>
                </c:pt>
                <c:pt idx="17">
                  <c:v>1.0286682748202165</c:v>
                </c:pt>
                <c:pt idx="18">
                  <c:v>0.917528066601354</c:v>
                </c:pt>
                <c:pt idx="19">
                  <c:v>0.83666199850174361</c:v>
                </c:pt>
                <c:pt idx="20">
                  <c:v>0.78742626362763024</c:v>
                </c:pt>
                <c:pt idx="21">
                  <c:v>0.72135732236310157</c:v>
                </c:pt>
                <c:pt idx="22">
                  <c:v>0.81876857082936849</c:v>
                </c:pt>
                <c:pt idx="23">
                  <c:v>0.90068396403738837</c:v>
                </c:pt>
                <c:pt idx="24">
                  <c:v>1.0445500290499452</c:v>
                </c:pt>
                <c:pt idx="25">
                  <c:v>1.1062416580562486</c:v>
                </c:pt>
                <c:pt idx="26">
                  <c:v>1.2463776939126952</c:v>
                </c:pt>
                <c:pt idx="27">
                  <c:v>1.2903894899928463</c:v>
                </c:pt>
                <c:pt idx="28">
                  <c:v>1.2257337319182346</c:v>
                </c:pt>
                <c:pt idx="29">
                  <c:v>1.0577699208953182</c:v>
                </c:pt>
                <c:pt idx="30">
                  <c:v>0.9524340069307804</c:v>
                </c:pt>
                <c:pt idx="31">
                  <c:v>0.84826734838644213</c:v>
                </c:pt>
                <c:pt idx="32">
                  <c:v>0.89679248713136817</c:v>
                </c:pt>
                <c:pt idx="33">
                  <c:v>1.025789386864326</c:v>
                </c:pt>
                <c:pt idx="34">
                  <c:v>0.94290053485836289</c:v>
                </c:pt>
                <c:pt idx="35">
                  <c:v>1.1345175911459429</c:v>
                </c:pt>
              </c:numCache>
            </c:numRef>
          </c:val>
          <c:extLst>
            <c:ext xmlns:c16="http://schemas.microsoft.com/office/drawing/2014/chart" uri="{C3380CC4-5D6E-409C-BE32-E72D297353CC}">
              <c16:uniqueId val="{00000003-6A07-40C1-B975-BA44DDF9A40C}"/>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56786191020486465"/>
        </c:manualLayout>
      </c:layout>
      <c:barChart>
        <c:barDir val="col"/>
        <c:grouping val="clustered"/>
        <c:varyColors val="0"/>
        <c:ser>
          <c:idx val="3"/>
          <c:order val="0"/>
          <c:tx>
            <c:strRef>
              <c:f>Sheet1!$E$1</c:f>
              <c:strCache>
                <c:ptCount val="1"/>
                <c:pt idx="0">
                  <c:v>Rgb</c:v>
                </c:pt>
              </c:strCache>
            </c:strRef>
          </c:tx>
          <c:spPr>
            <a:solidFill>
              <a:schemeClr val="bg2"/>
            </a:solidFill>
          </c:spPr>
          <c:invertIfNegative val="0"/>
          <c:cat>
            <c:numRef>
              <c:f>Sheet1!$A$2:$A$37</c:f>
              <c:numCache>
                <c:formatCode>mmm\-yy</c:formatCode>
                <c:ptCount val="36"/>
                <c:pt idx="0">
                  <c:v>44317</c:v>
                </c:pt>
                <c:pt idx="1">
                  <c:v>44348</c:v>
                </c:pt>
                <c:pt idx="2">
                  <c:v>44378</c:v>
                </c:pt>
                <c:pt idx="3">
                  <c:v>44409</c:v>
                </c:pt>
                <c:pt idx="4">
                  <c:v>44440</c:v>
                </c:pt>
                <c:pt idx="5">
                  <c:v>44470</c:v>
                </c:pt>
                <c:pt idx="6">
                  <c:v>44501</c:v>
                </c:pt>
                <c:pt idx="7">
                  <c:v>44531</c:v>
                </c:pt>
                <c:pt idx="8">
                  <c:v>44562</c:v>
                </c:pt>
                <c:pt idx="9">
                  <c:v>44593</c:v>
                </c:pt>
                <c:pt idx="10">
                  <c:v>44621</c:v>
                </c:pt>
                <c:pt idx="11">
                  <c:v>44652</c:v>
                </c:pt>
                <c:pt idx="12">
                  <c:v>44682</c:v>
                </c:pt>
                <c:pt idx="13">
                  <c:v>44713</c:v>
                </c:pt>
                <c:pt idx="14">
                  <c:v>44743</c:v>
                </c:pt>
                <c:pt idx="15">
                  <c:v>44774</c:v>
                </c:pt>
                <c:pt idx="16">
                  <c:v>44805</c:v>
                </c:pt>
                <c:pt idx="17">
                  <c:v>44835</c:v>
                </c:pt>
                <c:pt idx="18">
                  <c:v>44866</c:v>
                </c:pt>
                <c:pt idx="19">
                  <c:v>44896</c:v>
                </c:pt>
                <c:pt idx="20">
                  <c:v>44927</c:v>
                </c:pt>
                <c:pt idx="21">
                  <c:v>44958</c:v>
                </c:pt>
                <c:pt idx="22">
                  <c:v>44986</c:v>
                </c:pt>
                <c:pt idx="23">
                  <c:v>45017</c:v>
                </c:pt>
                <c:pt idx="24">
                  <c:v>45047</c:v>
                </c:pt>
                <c:pt idx="25">
                  <c:v>45078</c:v>
                </c:pt>
                <c:pt idx="26">
                  <c:v>45108</c:v>
                </c:pt>
                <c:pt idx="27">
                  <c:v>45139</c:v>
                </c:pt>
                <c:pt idx="28">
                  <c:v>45170</c:v>
                </c:pt>
                <c:pt idx="29">
                  <c:v>45200</c:v>
                </c:pt>
                <c:pt idx="30">
                  <c:v>45231</c:v>
                </c:pt>
                <c:pt idx="31">
                  <c:v>45261</c:v>
                </c:pt>
                <c:pt idx="32">
                  <c:v>45292</c:v>
                </c:pt>
                <c:pt idx="33">
                  <c:v>45323</c:v>
                </c:pt>
                <c:pt idx="34">
                  <c:v>45352</c:v>
                </c:pt>
                <c:pt idx="35">
                  <c:v>45383</c:v>
                </c:pt>
              </c:numCache>
            </c:numRef>
          </c:cat>
          <c:val>
            <c:numRef>
              <c:f>Sheet1!$E$2:$E$37</c:f>
              <c:numCache>
                <c:formatCode>0%</c:formatCode>
                <c:ptCount val="36"/>
                <c:pt idx="0">
                  <c:v>0.87107203749471396</c:v>
                </c:pt>
                <c:pt idx="1">
                  <c:v>1.0344363806118404</c:v>
                </c:pt>
                <c:pt idx="2">
                  <c:v>1.2601633524016127</c:v>
                </c:pt>
                <c:pt idx="3">
                  <c:v>1.3627976986037396</c:v>
                </c:pt>
                <c:pt idx="4">
                  <c:v>1.2202875158715509</c:v>
                </c:pt>
                <c:pt idx="5">
                  <c:v>1.0713205348358339</c:v>
                </c:pt>
                <c:pt idx="6">
                  <c:v>0.88686239619905938</c:v>
                </c:pt>
                <c:pt idx="7">
                  <c:v>0.82221746425573949</c:v>
                </c:pt>
                <c:pt idx="8">
                  <c:v>0.80198503922554676</c:v>
                </c:pt>
                <c:pt idx="9">
                  <c:v>0.72425246070241345</c:v>
                </c:pt>
                <c:pt idx="10">
                  <c:v>0.83353852711319731</c:v>
                </c:pt>
                <c:pt idx="11">
                  <c:v>0.90504107573383308</c:v>
                </c:pt>
                <c:pt idx="12">
                  <c:v>1.0648596785756976</c:v>
                </c:pt>
                <c:pt idx="13">
                  <c:v>1.1429182674521738</c:v>
                </c:pt>
                <c:pt idx="14">
                  <c:v>1.3243488698973651</c:v>
                </c:pt>
                <c:pt idx="15">
                  <c:v>1.3750152791224761</c:v>
                </c:pt>
                <c:pt idx="16">
                  <c:v>1.156841109697724</c:v>
                </c:pt>
                <c:pt idx="17">
                  <c:v>1.0006453139281486</c:v>
                </c:pt>
                <c:pt idx="18">
                  <c:v>0.86514468978864889</c:v>
                </c:pt>
                <c:pt idx="19">
                  <c:v>0.80540968876277463</c:v>
                </c:pt>
                <c:pt idx="20">
                  <c:v>0.82336031811926291</c:v>
                </c:pt>
                <c:pt idx="21">
                  <c:v>0.72409875054013229</c:v>
                </c:pt>
                <c:pt idx="22">
                  <c:v>0.83523840577987774</c:v>
                </c:pt>
                <c:pt idx="23">
                  <c:v>0.89331924566836185</c:v>
                </c:pt>
                <c:pt idx="24">
                  <c:v>0.99990218460873759</c:v>
                </c:pt>
                <c:pt idx="25">
                  <c:v>1.0453101340803421</c:v>
                </c:pt>
                <c:pt idx="26">
                  <c:v>1.2514262680387314</c:v>
                </c:pt>
                <c:pt idx="27">
                  <c:v>1.3287208756121829</c:v>
                </c:pt>
                <c:pt idx="28">
                  <c:v>1.2365881053427494</c:v>
                </c:pt>
                <c:pt idx="29">
                  <c:v>1.0600662393602704</c:v>
                </c:pt>
                <c:pt idx="30">
                  <c:v>0.90491416409554304</c:v>
                </c:pt>
                <c:pt idx="31">
                  <c:v>0.89705530875380812</c:v>
                </c:pt>
                <c:pt idx="32">
                  <c:v>1.0222725248009743</c:v>
                </c:pt>
                <c:pt idx="33">
                  <c:v>0.95909209041551757</c:v>
                </c:pt>
                <c:pt idx="34">
                  <c:v>0.97869681632891614</c:v>
                </c:pt>
                <c:pt idx="35">
                  <c:v>1.0399385684545921</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8830866852403085"/>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dLbls>
            <c:dLbl>
              <c:idx val="0"/>
              <c:tx>
                <c:rich>
                  <a:bodyPr/>
                  <a:lstStyle/>
                  <a:p>
                    <a:fld id="{A5C6A0BC-D2EF-484D-B676-03B1AC4AEC4C}" type="CELLRANGE">
                      <a:rPr lang="en-US"/>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738-4A3D-98BB-3D0CBF671497}"/>
                </c:ext>
              </c:extLst>
            </c:dLbl>
            <c:dLbl>
              <c:idx val="1"/>
              <c:tx>
                <c:rich>
                  <a:bodyPr/>
                  <a:lstStyle/>
                  <a:p>
                    <a:fld id="{F170299B-C718-41AC-8861-8DCE85336299}" type="CELLRANGE">
                      <a:rPr lang="en-US"/>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738-4A3D-98BB-3D0CBF671497}"/>
                </c:ext>
              </c:extLst>
            </c:dLbl>
            <c:dLbl>
              <c:idx val="2"/>
              <c:tx>
                <c:rich>
                  <a:bodyPr/>
                  <a:lstStyle/>
                  <a:p>
                    <a:fld id="{3D0121A2-5E63-48BC-A5D6-977E64786528}" type="CELLRANGE">
                      <a:rPr lang="en-US"/>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738-4A3D-98BB-3D0CBF671497}"/>
                </c:ext>
              </c:extLst>
            </c:dLbl>
            <c:dLbl>
              <c:idx val="3"/>
              <c:tx>
                <c:rich>
                  <a:bodyPr/>
                  <a:lstStyle/>
                  <a:p>
                    <a:fld id="{1350369B-4373-4528-AF77-0EC1604B061D}" type="CELLRANGE">
                      <a:rPr lang="en-US"/>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738-4A3D-98BB-3D0CBF671497}"/>
                </c:ext>
              </c:extLst>
            </c:dLbl>
            <c:dLbl>
              <c:idx val="4"/>
              <c:tx>
                <c:rich>
                  <a:bodyPr/>
                  <a:lstStyle/>
                  <a:p>
                    <a:fld id="{6D204820-4D68-4A50-A4AB-57A91D5D4A2F}" type="CELLRANGE">
                      <a:rPr lang="en-US"/>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C738-4A3D-98BB-3D0CBF671497}"/>
                </c:ext>
              </c:extLst>
            </c:dLbl>
            <c:dLbl>
              <c:idx val="5"/>
              <c:tx>
                <c:rich>
                  <a:bodyPr/>
                  <a:lstStyle/>
                  <a:p>
                    <a:fld id="{C3CCC28A-20EE-4275-AE88-09D2418C6EF4}" type="CELLRANGE">
                      <a:rPr lang="en-US"/>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C738-4A3D-98BB-3D0CBF671497}"/>
                </c:ext>
              </c:extLst>
            </c:dLbl>
            <c:dLbl>
              <c:idx val="6"/>
              <c:tx>
                <c:rich>
                  <a:bodyPr/>
                  <a:lstStyle/>
                  <a:p>
                    <a:fld id="{478F706E-5077-40A8-BE23-009F5E9B22C9}" type="CELLRANGE">
                      <a:rPr lang="en-US"/>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C738-4A3D-98BB-3D0CBF671497}"/>
                </c:ext>
              </c:extLst>
            </c:dLbl>
            <c:dLbl>
              <c:idx val="7"/>
              <c:tx>
                <c:rich>
                  <a:bodyPr/>
                  <a:lstStyle/>
                  <a:p>
                    <a:fld id="{E582B502-A3D8-4359-9932-8421A7AF5712}" type="CELLRANGE">
                      <a:rPr lang="en-US"/>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C738-4A3D-98BB-3D0CBF671497}"/>
                </c:ext>
              </c:extLst>
            </c:dLbl>
            <c:dLbl>
              <c:idx val="8"/>
              <c:tx>
                <c:rich>
                  <a:bodyPr/>
                  <a:lstStyle/>
                  <a:p>
                    <a:fld id="{9313EBCB-20E0-4FA9-959F-75F61E7C554D}" type="CELLRANGE">
                      <a:rPr lang="en-US"/>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C738-4A3D-98BB-3D0CBF671497}"/>
                </c:ext>
              </c:extLst>
            </c:dLbl>
            <c:dLbl>
              <c:idx val="9"/>
              <c:tx>
                <c:rich>
                  <a:bodyPr/>
                  <a:lstStyle/>
                  <a:p>
                    <a:fld id="{6E341076-A6FE-4811-90DF-40AA7E5003C2}" type="CELLRANGE">
                      <a:rPr lang="en-US"/>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C738-4A3D-98BB-3D0CBF671497}"/>
                </c:ext>
              </c:extLst>
            </c:dLbl>
            <c:dLbl>
              <c:idx val="1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C738-4A3D-98BB-3D0CBF671497}"/>
                </c:ext>
              </c:extLst>
            </c:dLbl>
            <c:dLbl>
              <c:idx val="1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C738-4A3D-98BB-3D0CBF671497}"/>
                </c:ext>
              </c:extLst>
            </c:dLbl>
            <c:dLbl>
              <c:idx val="1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C738-4A3D-98BB-3D0CBF671497}"/>
                </c:ext>
              </c:extLst>
            </c:dLbl>
            <c:dLbl>
              <c:idx val="13"/>
              <c:tx>
                <c:rich>
                  <a:bodyPr/>
                  <a:lstStyle/>
                  <a:p>
                    <a:fld id="{885537DC-519B-4361-9D1B-7AA6B5694D8B}" type="CELLRANGE">
                      <a:rPr lang="en-US"/>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C738-4A3D-98BB-3D0CBF671497}"/>
                </c:ext>
              </c:extLst>
            </c:dLbl>
            <c:dLbl>
              <c:idx val="14"/>
              <c:tx>
                <c:rich>
                  <a:bodyPr/>
                  <a:lstStyle/>
                  <a:p>
                    <a:fld id="{D6BF5CC9-651F-4B64-9AFA-1A7353137026}" type="CELLRANGE">
                      <a:rPr lang="en-US"/>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C738-4A3D-98BB-3D0CBF671497}"/>
                </c:ext>
              </c:extLst>
            </c:dLbl>
            <c:dLbl>
              <c:idx val="15"/>
              <c:tx>
                <c:rich>
                  <a:bodyPr/>
                  <a:lstStyle/>
                  <a:p>
                    <a:fld id="{DDEDC6CA-081A-472A-96EF-6A73133493FC}" type="CELLRANGE">
                      <a:rPr lang="en-US"/>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C738-4A3D-98BB-3D0CBF671497}"/>
                </c:ext>
              </c:extLst>
            </c:dLbl>
            <c:dLbl>
              <c:idx val="1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C738-4A3D-98BB-3D0CBF671497}"/>
                </c:ext>
              </c:extLst>
            </c:dLbl>
            <c:dLbl>
              <c:idx val="1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C738-4A3D-98BB-3D0CBF671497}"/>
                </c:ext>
              </c:extLst>
            </c:dLbl>
            <c:dLbl>
              <c:idx val="1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C738-4A3D-98BB-3D0CBF671497}"/>
                </c:ext>
              </c:extLst>
            </c:dLbl>
            <c:dLbl>
              <c:idx val="19"/>
              <c:tx>
                <c:rich>
                  <a:bodyPr/>
                  <a:lstStyle/>
                  <a:p>
                    <a:fld id="{216E1A8B-60BE-404A-8950-868622E64CDE}" type="CELLRANGE">
                      <a:rPr lang="en-US"/>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C738-4A3D-98BB-3D0CBF671497}"/>
                </c:ext>
              </c:extLst>
            </c:dLbl>
            <c:dLbl>
              <c:idx val="20"/>
              <c:tx>
                <c:rich>
                  <a:bodyPr/>
                  <a:lstStyle/>
                  <a:p>
                    <a:fld id="{182FF66B-2416-4065-B166-CCEFC2AA67F7}" type="CELLRANGE">
                      <a:rPr lang="en-US"/>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C738-4A3D-98BB-3D0CBF671497}"/>
                </c:ext>
              </c:extLst>
            </c:dLbl>
            <c:dLbl>
              <c:idx val="21"/>
              <c:tx>
                <c:rich>
                  <a:bodyPr/>
                  <a:lstStyle/>
                  <a:p>
                    <a:fld id="{615FBE2F-B313-43E9-A670-D9E4218ECE99}" type="CELLRANGE">
                      <a:rPr lang="en-US"/>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C738-4A3D-98BB-3D0CBF671497}"/>
                </c:ext>
              </c:extLst>
            </c:dLbl>
            <c:dLbl>
              <c:idx val="2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C738-4A3D-98BB-3D0CBF671497}"/>
                </c:ext>
              </c:extLst>
            </c:dLbl>
            <c:dLbl>
              <c:idx val="23"/>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C738-4A3D-98BB-3D0CBF671497}"/>
                </c:ext>
              </c:extLst>
            </c:dLbl>
            <c:dLbl>
              <c:idx val="2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C738-4A3D-98BB-3D0CBF671497}"/>
                </c:ext>
              </c:extLst>
            </c:dLbl>
            <c:dLbl>
              <c:idx val="25"/>
              <c:tx>
                <c:rich>
                  <a:bodyPr/>
                  <a:lstStyle/>
                  <a:p>
                    <a:fld id="{3755D66B-82C9-49F3-8B51-B77084B40638}" type="CELLRANGE">
                      <a:rPr lang="en-US"/>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C738-4A3D-98BB-3D0CBF671497}"/>
                </c:ext>
              </c:extLst>
            </c:dLbl>
            <c:dLbl>
              <c:idx val="26"/>
              <c:tx>
                <c:rich>
                  <a:bodyPr/>
                  <a:lstStyle/>
                  <a:p>
                    <a:fld id="{0686903F-4E50-4097-BDFB-88355A8B18BF}" type="CELLRANGE">
                      <a:rPr lang="en-US"/>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C738-4A3D-98BB-3D0CBF671497}"/>
                </c:ext>
              </c:extLst>
            </c:dLbl>
            <c:dLbl>
              <c:idx val="27"/>
              <c:tx>
                <c:rich>
                  <a:bodyPr/>
                  <a:lstStyle/>
                  <a:p>
                    <a:fld id="{0506BEF4-4E38-4676-A002-E6DB6266DBAD}" type="CELLRANGE">
                      <a:rPr lang="en-US"/>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C738-4A3D-98BB-3D0CBF671497}"/>
                </c:ext>
              </c:extLst>
            </c:dLbl>
            <c:dLbl>
              <c:idx val="28"/>
              <c:tx>
                <c:rich>
                  <a:bodyPr/>
                  <a:lstStyle/>
                  <a:p>
                    <a:fld id="{412FF541-73DF-46D7-9F04-29195B6C5FF8}" type="CELLRANGE">
                      <a:rPr lang="en-US"/>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C738-4A3D-98BB-3D0CBF671497}"/>
                </c:ext>
              </c:extLst>
            </c:dLbl>
            <c:dLbl>
              <c:idx val="29"/>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C738-4A3D-98BB-3D0CBF671497}"/>
                </c:ext>
              </c:extLst>
            </c:dLbl>
            <c:dLbl>
              <c:idx val="3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E-C738-4A3D-98BB-3D0CBF671497}"/>
                </c:ext>
              </c:extLst>
            </c:dLbl>
            <c:dLbl>
              <c:idx val="31"/>
              <c:tx>
                <c:rich>
                  <a:bodyPr/>
                  <a:lstStyle/>
                  <a:p>
                    <a:fld id="{B99983E3-F8B0-4985-A67E-0A1AC929CE0E}" type="CELLRANGE">
                      <a:rPr lang="en-US"/>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C738-4A3D-98BB-3D0CBF671497}"/>
                </c:ext>
              </c:extLst>
            </c:dLbl>
            <c:dLbl>
              <c:idx val="32"/>
              <c:tx>
                <c:rich>
                  <a:bodyPr/>
                  <a:lstStyle/>
                  <a:p>
                    <a:fld id="{72F31972-F79E-4A6C-A244-15BD752DF0D8}" type="CELLRANGE">
                      <a:rPr lang="en-US"/>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C738-4A3D-98BB-3D0CBF671497}"/>
                </c:ext>
              </c:extLst>
            </c:dLbl>
            <c:dLbl>
              <c:idx val="33"/>
              <c:tx>
                <c:rich>
                  <a:bodyPr/>
                  <a:lstStyle/>
                  <a:p>
                    <a:fld id="{8BE0FF6B-C8A1-4CB2-A9A5-BDAD4A327193}" type="CELLRANGE">
                      <a:rPr lang="en-US"/>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C738-4A3D-98BB-3D0CBF671497}"/>
                </c:ext>
              </c:extLst>
            </c:dLbl>
            <c:dLbl>
              <c:idx val="3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C738-4A3D-98BB-3D0CBF671497}"/>
                </c:ext>
              </c:extLst>
            </c:dLbl>
            <c:dLbl>
              <c:idx val="35"/>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C738-4A3D-98BB-3D0CBF671497}"/>
                </c:ext>
              </c:extLst>
            </c:dLbl>
            <c:dLbl>
              <c:idx val="3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C738-4A3D-98BB-3D0CBF671497}"/>
                </c:ext>
              </c:extLst>
            </c:dLbl>
            <c:dLbl>
              <c:idx val="37"/>
              <c:tx>
                <c:rich>
                  <a:bodyPr/>
                  <a:lstStyle/>
                  <a:p>
                    <a:fld id="{8A95479C-2EFD-4BAA-81D0-A0A4098D3FA9}" type="CELLRANGE">
                      <a:rPr lang="en-US"/>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C738-4A3D-98BB-3D0CBF671497}"/>
                </c:ext>
              </c:extLst>
            </c:dLbl>
            <c:dLbl>
              <c:idx val="38"/>
              <c:tx>
                <c:rich>
                  <a:bodyPr/>
                  <a:lstStyle/>
                  <a:p>
                    <a:fld id="{DDE2FD38-772A-4C4C-8ABE-D11E5721E3B7}" type="CELLRANGE">
                      <a:rPr lang="en-CH"/>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C738-4A3D-98BB-3D0CBF671497}"/>
                </c:ext>
              </c:extLst>
            </c:dLbl>
            <c:dLbl>
              <c:idx val="39"/>
              <c:tx>
                <c:rich>
                  <a:bodyPr/>
                  <a:lstStyle/>
                  <a:p>
                    <a:fld id="{1559B190-B876-4C69-9203-943E4D726A3E}" type="CELLRANGE">
                      <a:rPr lang="en-US"/>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C738-4A3D-98BB-3D0CBF671497}"/>
                </c:ext>
              </c:extLst>
            </c:dLbl>
            <c:dLbl>
              <c:idx val="4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8-C738-4A3D-98BB-3D0CBF671497}"/>
                </c:ext>
              </c:extLst>
            </c:dLbl>
            <c:dLbl>
              <c:idx val="4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9-C738-4A3D-98BB-3D0CBF671497}"/>
                </c:ext>
              </c:extLst>
            </c:dLbl>
            <c:dLbl>
              <c:idx val="4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C738-4A3D-98BB-3D0CBF671497}"/>
                </c:ext>
              </c:extLst>
            </c:dLbl>
            <c:dLbl>
              <c:idx val="43"/>
              <c:tx>
                <c:rich>
                  <a:bodyPr/>
                  <a:lstStyle/>
                  <a:p>
                    <a:fld id="{673B27E2-BF24-40A0-95B2-59B39588158E}" type="CELLRANGE">
                      <a:rPr lang="en-US"/>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C738-4A3D-98BB-3D0CBF671497}"/>
                </c:ext>
              </c:extLst>
            </c:dLbl>
            <c:dLbl>
              <c:idx val="44"/>
              <c:tx>
                <c:rich>
                  <a:bodyPr/>
                  <a:lstStyle/>
                  <a:p>
                    <a:fld id="{E373AB27-7B19-48ED-9C80-5EC73C78895F}" type="CELLRANGE">
                      <a:rPr lang="en-US"/>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C738-4A3D-98BB-3D0CBF671497}"/>
                </c:ext>
              </c:extLst>
            </c:dLbl>
            <c:dLbl>
              <c:idx val="45"/>
              <c:tx>
                <c:rich>
                  <a:bodyPr/>
                  <a:lstStyle/>
                  <a:p>
                    <a:fld id="{B5901F54-F7C6-4094-92DC-C5963FFAF47F}" type="CELLRANGE">
                      <a:rPr lang="en-US"/>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C738-4A3D-98BB-3D0CBF671497}"/>
                </c:ext>
              </c:extLst>
            </c:dLbl>
            <c:dLbl>
              <c:idx val="4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E-C738-4A3D-98BB-3D0CBF671497}"/>
                </c:ext>
              </c:extLst>
            </c:dLbl>
            <c:dLbl>
              <c:idx val="4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F-C738-4A3D-98BB-3D0CBF671497}"/>
                </c:ext>
              </c:extLst>
            </c:dLbl>
            <c:dLbl>
              <c:idx val="4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0-C738-4A3D-98BB-3D0CBF671497}"/>
                </c:ext>
              </c:extLst>
            </c:dLbl>
            <c:dLbl>
              <c:idx val="49"/>
              <c:tx>
                <c:rich>
                  <a:bodyPr/>
                  <a:lstStyle/>
                  <a:p>
                    <a:fld id="{92D5C5D2-809A-4641-ABD8-977083AA982A}" type="CELLRANGE">
                      <a:rPr lang="en-US"/>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C738-4A3D-98BB-3D0CBF671497}"/>
                </c:ext>
              </c:extLst>
            </c:dLbl>
            <c:dLbl>
              <c:idx val="50"/>
              <c:tx>
                <c:rich>
                  <a:bodyPr/>
                  <a:lstStyle/>
                  <a:p>
                    <a:fld id="{BBE064F9-046C-426C-9A8E-BD224D70D4AE}" type="CELLRANGE">
                      <a:rPr lang="en-US"/>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C738-4A3D-98BB-3D0CBF671497}"/>
                </c:ext>
              </c:extLst>
            </c:dLbl>
            <c:dLbl>
              <c:idx val="51"/>
              <c:tx>
                <c:rich>
                  <a:bodyPr/>
                  <a:lstStyle/>
                  <a:p>
                    <a:fld id="{690C6B98-FFDB-4EB4-BFD0-F2740DC27222}" type="CELLRANGE">
                      <a:rPr lang="en-US"/>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C738-4A3D-98BB-3D0CBF671497}"/>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dLblPos val="in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0%;0%</c:formatCode>
                <c:ptCount val="52"/>
                <c:pt idx="0">
                  <c:v>1</c:v>
                </c:pt>
                <c:pt idx="1">
                  <c:v>1</c:v>
                </c:pt>
                <c:pt idx="2">
                  <c:v>1</c:v>
                </c:pt>
                <c:pt idx="3">
                  <c:v>1</c:v>
                </c:pt>
                <c:pt idx="4">
                  <c:v>1</c:v>
                </c:pt>
                <c:pt idx="5">
                  <c:v>1</c:v>
                </c:pt>
                <c:pt idx="6">
                  <c:v>1</c:v>
                </c:pt>
                <c:pt idx="7">
                  <c:v>1</c:v>
                </c:pt>
                <c:pt idx="8">
                  <c:v>1</c:v>
                </c:pt>
                <c:pt idx="9">
                  <c:v>1</c:v>
                </c:pt>
                <c:pt idx="10">
                  <c:v>#N/A</c:v>
                </c:pt>
                <c:pt idx="11">
                  <c:v>#N/A</c:v>
                </c:pt>
                <c:pt idx="12">
                  <c:v>#N/A</c:v>
                </c:pt>
                <c:pt idx="13">
                  <c:v>1</c:v>
                </c:pt>
                <c:pt idx="14">
                  <c:v>1</c:v>
                </c:pt>
                <c:pt idx="15">
                  <c:v>1</c:v>
                </c:pt>
                <c:pt idx="16">
                  <c:v>#N/A</c:v>
                </c:pt>
                <c:pt idx="17">
                  <c:v>#N/A</c:v>
                </c:pt>
                <c:pt idx="18">
                  <c:v>#N/A</c:v>
                </c:pt>
                <c:pt idx="19">
                  <c:v>1</c:v>
                </c:pt>
                <c:pt idx="20">
                  <c:v>1</c:v>
                </c:pt>
                <c:pt idx="21">
                  <c:v>1</c:v>
                </c:pt>
                <c:pt idx="22">
                  <c:v>#N/A</c:v>
                </c:pt>
                <c:pt idx="23">
                  <c:v>#N/A</c:v>
                </c:pt>
                <c:pt idx="24">
                  <c:v>#N/A</c:v>
                </c:pt>
                <c:pt idx="25">
                  <c:v>1</c:v>
                </c:pt>
                <c:pt idx="26">
                  <c:v>1</c:v>
                </c:pt>
                <c:pt idx="27">
                  <c:v>1</c:v>
                </c:pt>
                <c:pt idx="28">
                  <c:v>1</c:v>
                </c:pt>
                <c:pt idx="29">
                  <c:v>#N/A</c:v>
                </c:pt>
                <c:pt idx="30">
                  <c:v>#N/A</c:v>
                </c:pt>
                <c:pt idx="31">
                  <c:v>1</c:v>
                </c:pt>
                <c:pt idx="32">
                  <c:v>1</c:v>
                </c:pt>
                <c:pt idx="33">
                  <c:v>1</c:v>
                </c:pt>
                <c:pt idx="34">
                  <c:v>#N/A</c:v>
                </c:pt>
                <c:pt idx="35">
                  <c:v>#N/A</c:v>
                </c:pt>
                <c:pt idx="36">
                  <c:v>#N/A</c:v>
                </c:pt>
                <c:pt idx="37">
                  <c:v>1</c:v>
                </c:pt>
                <c:pt idx="38">
                  <c:v>1</c:v>
                </c:pt>
                <c:pt idx="39">
                  <c:v>1</c:v>
                </c:pt>
                <c:pt idx="40">
                  <c:v>#N/A</c:v>
                </c:pt>
                <c:pt idx="41">
                  <c:v>#N/A</c:v>
                </c:pt>
                <c:pt idx="42">
                  <c:v>#N/A</c:v>
                </c:pt>
                <c:pt idx="43">
                  <c:v>1</c:v>
                </c:pt>
                <c:pt idx="44">
                  <c:v>1</c:v>
                </c:pt>
                <c:pt idx="45">
                  <c:v>1</c:v>
                </c:pt>
                <c:pt idx="46">
                  <c:v>#N/A</c:v>
                </c:pt>
                <c:pt idx="47">
                  <c:v>#N/A</c:v>
                </c:pt>
                <c:pt idx="48">
                  <c:v>#N/A</c:v>
                </c:pt>
                <c:pt idx="49">
                  <c:v>1</c:v>
                </c:pt>
                <c:pt idx="50">
                  <c:v>1</c:v>
                </c:pt>
                <c:pt idx="51">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C738-4A3D-98BB-3D0CBF671497}"/>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0%;0%</c:formatCode>
                <c:ptCount val="52"/>
                <c:pt idx="0">
                  <c:v>0.31741195933698862</c:v>
                </c:pt>
                <c:pt idx="1">
                  <c:v>0.55552518945359541</c:v>
                </c:pt>
                <c:pt idx="2">
                  <c:v>0.47761625108308464</c:v>
                </c:pt>
                <c:pt idx="3">
                  <c:v>0.43712699308174235</c:v>
                </c:pt>
                <c:pt idx="4">
                  <c:v>0.36264807702176205</c:v>
                </c:pt>
                <c:pt idx="5">
                  <c:v>0.38422904683399911</c:v>
                </c:pt>
                <c:pt idx="6">
                  <c:v>0.40742054727108346</c:v>
                </c:pt>
                <c:pt idx="7">
                  <c:v>1.0321668026535173</c:v>
                </c:pt>
                <c:pt idx="8">
                  <c:v>0.5462931131314438</c:v>
                </c:pt>
                <c:pt idx="9">
                  <c:v>0.76245047295306534</c:v>
                </c:pt>
                <c:pt idx="10">
                  <c:v>#N/A</c:v>
                </c:pt>
                <c:pt idx="11">
                  <c:v>#N/A</c:v>
                </c:pt>
                <c:pt idx="12">
                  <c:v>#N/A</c:v>
                </c:pt>
                <c:pt idx="13">
                  <c:v>0.2685619698185851</c:v>
                </c:pt>
                <c:pt idx="14">
                  <c:v>0.60045689300840521</c:v>
                </c:pt>
                <c:pt idx="15">
                  <c:v>0.3622105904776648</c:v>
                </c:pt>
                <c:pt idx="16">
                  <c:v>#N/A</c:v>
                </c:pt>
                <c:pt idx="17">
                  <c:v>#N/A</c:v>
                </c:pt>
                <c:pt idx="18">
                  <c:v>#N/A</c:v>
                </c:pt>
                <c:pt idx="19">
                  <c:v>0.10463941845632306</c:v>
                </c:pt>
                <c:pt idx="20">
                  <c:v>0.52569649178121824</c:v>
                </c:pt>
                <c:pt idx="21">
                  <c:v>0.14491334978561482</c:v>
                </c:pt>
                <c:pt idx="22">
                  <c:v>#N/A</c:v>
                </c:pt>
                <c:pt idx="23">
                  <c:v>#N/A</c:v>
                </c:pt>
                <c:pt idx="24">
                  <c:v>#N/A</c:v>
                </c:pt>
                <c:pt idx="25">
                  <c:v>0.18886446202424201</c:v>
                </c:pt>
                <c:pt idx="26">
                  <c:v>0.22372048262984959</c:v>
                </c:pt>
                <c:pt idx="27">
                  <c:v>0.36828644501278773</c:v>
                </c:pt>
                <c:pt idx="28">
                  <c:v>#N/A</c:v>
                </c:pt>
                <c:pt idx="29">
                  <c:v>#N/A</c:v>
                </c:pt>
                <c:pt idx="30">
                  <c:v>#N/A</c:v>
                </c:pt>
                <c:pt idx="31">
                  <c:v>0.12294597048113506</c:v>
                </c:pt>
                <c:pt idx="32">
                  <c:v>0.50035194109047598</c:v>
                </c:pt>
                <c:pt idx="33">
                  <c:v>0.41802358537751055</c:v>
                </c:pt>
                <c:pt idx="34">
                  <c:v>#N/A</c:v>
                </c:pt>
                <c:pt idx="35">
                  <c:v>#N/A</c:v>
                </c:pt>
                <c:pt idx="36">
                  <c:v>#N/A</c:v>
                </c:pt>
                <c:pt idx="37">
                  <c:v>0.86697921202118289</c:v>
                </c:pt>
                <c:pt idx="38">
                  <c:v>2.5595210495451881</c:v>
                </c:pt>
                <c:pt idx="39">
                  <c:v>0.36886480958675349</c:v>
                </c:pt>
                <c:pt idx="40">
                  <c:v>#N/A</c:v>
                </c:pt>
                <c:pt idx="41">
                  <c:v>#N/A</c:v>
                </c:pt>
                <c:pt idx="42">
                  <c:v>#N/A</c:v>
                </c:pt>
                <c:pt idx="43">
                  <c:v>0.90170890150406746</c:v>
                </c:pt>
                <c:pt idx="44">
                  <c:v>1.048028435450546</c:v>
                </c:pt>
                <c:pt idx="45">
                  <c:v>0.34420385076843968</c:v>
                </c:pt>
                <c:pt idx="46">
                  <c:v>#N/A</c:v>
                </c:pt>
                <c:pt idx="47">
                  <c:v>#N/A</c:v>
                </c:pt>
                <c:pt idx="48">
                  <c:v>#N/A</c:v>
                </c:pt>
                <c:pt idx="49">
                  <c:v>1.3343675915403637</c:v>
                </c:pt>
                <c:pt idx="50">
                  <c:v>1.0787224336125691</c:v>
                </c:pt>
                <c:pt idx="51">
                  <c:v>0.33774114750629919</c:v>
                </c:pt>
              </c:numCache>
            </c:numRef>
          </c:val>
          <c:smooth val="0"/>
          <c:extLst>
            <c:ext xmlns:c16="http://schemas.microsoft.com/office/drawing/2014/chart" uri="{C3380CC4-5D6E-409C-BE32-E72D297353CC}">
              <c16:uniqueId val="{00000035-C738-4A3D-98BB-3D0CBF671497}"/>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67511865139668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cat>
            <c:strRef>
              <c:f>Sheet1!$A$2:$A$53</c:f>
              <c:strCache>
                <c:ptCount val="52"/>
                <c:pt idx="0">
                  <c:v>7/5/2023</c:v>
                </c:pt>
                <c:pt idx="1">
                  <c:v>5/14/2023</c:v>
                </c:pt>
                <c:pt idx="2">
                  <c:v>5/21/2023</c:v>
                </c:pt>
                <c:pt idx="3">
                  <c:v>5/28/2023</c:v>
                </c:pt>
                <c:pt idx="4">
                  <c:v>4/6/2023</c:v>
                </c:pt>
                <c:pt idx="5">
                  <c:v>11/6/2023</c:v>
                </c:pt>
                <c:pt idx="6">
                  <c:v>6/18/2023</c:v>
                </c:pt>
                <c:pt idx="7">
                  <c:v>6/25/2023</c:v>
                </c:pt>
                <c:pt idx="8">
                  <c:v>2/7/2023</c:v>
                </c:pt>
                <c:pt idx="9">
                  <c:v>9/7/2023</c:v>
                </c:pt>
                <c:pt idx="10">
                  <c:v>7/16/2023</c:v>
                </c:pt>
                <c:pt idx="11">
                  <c:v>7/23/2023</c:v>
                </c:pt>
                <c:pt idx="12">
                  <c:v>7/30/2023</c:v>
                </c:pt>
                <c:pt idx="13">
                  <c:v>6/8/2023</c:v>
                </c:pt>
                <c:pt idx="14">
                  <c:v>8/13/2023</c:v>
                </c:pt>
                <c:pt idx="15">
                  <c:v>8/20/2023</c:v>
                </c:pt>
                <c:pt idx="16">
                  <c:v>8/27/2023</c:v>
                </c:pt>
                <c:pt idx="17">
                  <c:v>3/9/2023</c:v>
                </c:pt>
                <c:pt idx="18">
                  <c:v>10/9/2023</c:v>
                </c:pt>
                <c:pt idx="19">
                  <c:v>9/17/2023</c:v>
                </c:pt>
                <c:pt idx="20">
                  <c:v>9/24/2023</c:v>
                </c:pt>
                <c:pt idx="21">
                  <c:v>1/10/2023</c:v>
                </c:pt>
                <c:pt idx="22">
                  <c:v>8/10/2023</c:v>
                </c:pt>
                <c:pt idx="23">
                  <c:v>10/15/2023</c:v>
                </c:pt>
                <c:pt idx="24">
                  <c:v>10/22/2023</c:v>
                </c:pt>
                <c:pt idx="25">
                  <c:v>10/29/2023</c:v>
                </c:pt>
                <c:pt idx="26">
                  <c:v>5/11/2023</c:v>
                </c:pt>
                <c:pt idx="27">
                  <c:v>12/11/2023</c:v>
                </c:pt>
                <c:pt idx="28">
                  <c:v>11/19/2023</c:v>
                </c:pt>
                <c:pt idx="29">
                  <c:v>11/26/2023</c:v>
                </c:pt>
                <c:pt idx="30">
                  <c:v>3/12/2023</c:v>
                </c:pt>
                <c:pt idx="31">
                  <c:v>10/12/2023</c:v>
                </c:pt>
                <c:pt idx="32">
                  <c:v>12/17/2023</c:v>
                </c:pt>
                <c:pt idx="33">
                  <c:v>12/24/2023</c:v>
                </c:pt>
                <c:pt idx="34">
                  <c:v>12/31/2023</c:v>
                </c:pt>
                <c:pt idx="35">
                  <c:v>7/1/2024</c:v>
                </c:pt>
                <c:pt idx="36">
                  <c:v>1/14/2024</c:v>
                </c:pt>
                <c:pt idx="37">
                  <c:v>1/21/2024</c:v>
                </c:pt>
                <c:pt idx="38">
                  <c:v>1/28/2024</c:v>
                </c:pt>
                <c:pt idx="39">
                  <c:v>4/2/2024</c:v>
                </c:pt>
                <c:pt idx="40">
                  <c:v>11/2/2024</c:v>
                </c:pt>
                <c:pt idx="41">
                  <c:v>2/18/2024</c:v>
                </c:pt>
                <c:pt idx="42">
                  <c:v>2/25/2024</c:v>
                </c:pt>
                <c:pt idx="43">
                  <c:v>3/3/2024</c:v>
                </c:pt>
                <c:pt idx="44">
                  <c:v>10/3/2024</c:v>
                </c:pt>
                <c:pt idx="45">
                  <c:v>3/17/2024</c:v>
                </c:pt>
                <c:pt idx="46">
                  <c:v>3/24/2024</c:v>
                </c:pt>
                <c:pt idx="47">
                  <c:v>3/31/2024</c:v>
                </c:pt>
                <c:pt idx="48">
                  <c:v>7/4/2024</c:v>
                </c:pt>
                <c:pt idx="49">
                  <c:v>4/14/2024</c:v>
                </c:pt>
                <c:pt idx="50">
                  <c:v>4/21/2024</c:v>
                </c:pt>
                <c:pt idx="51">
                  <c:v>4/28/2024</c:v>
                </c:pt>
              </c:strCache>
            </c:strRef>
          </c:cat>
          <c:val>
            <c:numRef>
              <c:f>Sheet1!$C$2:$C$53</c:f>
              <c:numCache>
                <c:formatCode>General</c:formatCode>
                <c:ptCount val="52"/>
                <c:pt idx="2" formatCode="0%">
                  <c:v>1</c:v>
                </c:pt>
                <c:pt idx="3" formatCode="0%">
                  <c:v>1</c:v>
                </c:pt>
                <c:pt idx="4" formatCode="0%">
                  <c:v>1</c:v>
                </c:pt>
                <c:pt idx="5" formatCode="0%">
                  <c:v>1</c:v>
                </c:pt>
                <c:pt idx="6" formatCode="0%">
                  <c:v>1</c:v>
                </c:pt>
                <c:pt idx="7" formatCode="0%">
                  <c:v>1</c:v>
                </c:pt>
                <c:pt idx="8" formatCode="0%">
                  <c:v>1</c:v>
                </c:pt>
                <c:pt idx="9" formatCode="0%">
                  <c:v>1</c:v>
                </c:pt>
                <c:pt idx="10" formatCode="0%">
                  <c:v>1</c:v>
                </c:pt>
                <c:pt idx="11" formatCode="0%">
                  <c:v>1</c:v>
                </c:pt>
                <c:pt idx="12" formatCode="0%">
                  <c:v>1</c:v>
                </c:pt>
                <c:pt idx="13" formatCode="0%">
                  <c:v>1</c:v>
                </c:pt>
                <c:pt idx="14" formatCode="0%">
                  <c:v>1</c:v>
                </c:pt>
                <c:pt idx="22" formatCode="0%">
                  <c:v>1</c:v>
                </c:pt>
                <c:pt idx="23" formatCode="0%">
                  <c:v>1</c:v>
                </c:pt>
                <c:pt idx="24" formatCode="0%">
                  <c:v>1</c:v>
                </c:pt>
                <c:pt idx="34" formatCode="0%">
                  <c:v>1</c:v>
                </c:pt>
                <c:pt idx="39" formatCode="0%">
                  <c:v>1</c:v>
                </c:pt>
                <c:pt idx="40" formatCode="0%">
                  <c:v>1</c:v>
                </c:pt>
                <c:pt idx="41" formatCode="0%">
                  <c:v>1</c:v>
                </c:pt>
                <c:pt idx="42" formatCode="0%">
                  <c:v>1</c:v>
                </c:pt>
                <c:pt idx="43" formatCode="0%">
                  <c:v>1</c:v>
                </c:pt>
              </c:numCache>
            </c:numRef>
          </c:val>
          <c:extLst>
            <c:ext xmlns:c16="http://schemas.microsoft.com/office/drawing/2014/chart" uri="{C3380CC4-5D6E-409C-BE32-E72D297353CC}">
              <c16:uniqueId val="{00000000-6B0A-4292-A357-CC7FA9851ABC}"/>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7/5/2023</c:v>
                </c:pt>
                <c:pt idx="1">
                  <c:v>5/14/2023</c:v>
                </c:pt>
                <c:pt idx="2">
                  <c:v>5/21/2023</c:v>
                </c:pt>
                <c:pt idx="3">
                  <c:v>5/28/2023</c:v>
                </c:pt>
                <c:pt idx="4">
                  <c:v>4/6/2023</c:v>
                </c:pt>
                <c:pt idx="5">
                  <c:v>11/6/2023</c:v>
                </c:pt>
                <c:pt idx="6">
                  <c:v>6/18/2023</c:v>
                </c:pt>
                <c:pt idx="7">
                  <c:v>6/25/2023</c:v>
                </c:pt>
                <c:pt idx="8">
                  <c:v>2/7/2023</c:v>
                </c:pt>
                <c:pt idx="9">
                  <c:v>9/7/2023</c:v>
                </c:pt>
                <c:pt idx="10">
                  <c:v>7/16/2023</c:v>
                </c:pt>
                <c:pt idx="11">
                  <c:v>7/23/2023</c:v>
                </c:pt>
                <c:pt idx="12">
                  <c:v>7/30/2023</c:v>
                </c:pt>
                <c:pt idx="13">
                  <c:v>6/8/2023</c:v>
                </c:pt>
                <c:pt idx="14">
                  <c:v>8/13/2023</c:v>
                </c:pt>
                <c:pt idx="15">
                  <c:v>8/20/2023</c:v>
                </c:pt>
                <c:pt idx="16">
                  <c:v>8/27/2023</c:v>
                </c:pt>
                <c:pt idx="17">
                  <c:v>3/9/2023</c:v>
                </c:pt>
                <c:pt idx="18">
                  <c:v>10/9/2023</c:v>
                </c:pt>
                <c:pt idx="19">
                  <c:v>9/17/2023</c:v>
                </c:pt>
                <c:pt idx="20">
                  <c:v>9/24/2023</c:v>
                </c:pt>
                <c:pt idx="21">
                  <c:v>1/10/2023</c:v>
                </c:pt>
                <c:pt idx="22">
                  <c:v>8/10/2023</c:v>
                </c:pt>
                <c:pt idx="23">
                  <c:v>10/15/2023</c:v>
                </c:pt>
                <c:pt idx="24">
                  <c:v>10/22/2023</c:v>
                </c:pt>
                <c:pt idx="25">
                  <c:v>10/29/2023</c:v>
                </c:pt>
                <c:pt idx="26">
                  <c:v>5/11/2023</c:v>
                </c:pt>
                <c:pt idx="27">
                  <c:v>12/11/2023</c:v>
                </c:pt>
                <c:pt idx="28">
                  <c:v>11/19/2023</c:v>
                </c:pt>
                <c:pt idx="29">
                  <c:v>11/26/2023</c:v>
                </c:pt>
                <c:pt idx="30">
                  <c:v>3/12/2023</c:v>
                </c:pt>
                <c:pt idx="31">
                  <c:v>10/12/2023</c:v>
                </c:pt>
                <c:pt idx="32">
                  <c:v>12/17/2023</c:v>
                </c:pt>
                <c:pt idx="33">
                  <c:v>12/24/2023</c:v>
                </c:pt>
                <c:pt idx="34">
                  <c:v>12/31/2023</c:v>
                </c:pt>
                <c:pt idx="35">
                  <c:v>7/1/2024</c:v>
                </c:pt>
                <c:pt idx="36">
                  <c:v>1/14/2024</c:v>
                </c:pt>
                <c:pt idx="37">
                  <c:v>1/21/2024</c:v>
                </c:pt>
                <c:pt idx="38">
                  <c:v>1/28/2024</c:v>
                </c:pt>
                <c:pt idx="39">
                  <c:v>4/2/2024</c:v>
                </c:pt>
                <c:pt idx="40">
                  <c:v>11/2/2024</c:v>
                </c:pt>
                <c:pt idx="41">
                  <c:v>2/18/2024</c:v>
                </c:pt>
                <c:pt idx="42">
                  <c:v>2/25/2024</c:v>
                </c:pt>
                <c:pt idx="43">
                  <c:v>3/3/2024</c:v>
                </c:pt>
                <c:pt idx="44">
                  <c:v>10/3/2024</c:v>
                </c:pt>
                <c:pt idx="45">
                  <c:v>3/17/2024</c:v>
                </c:pt>
                <c:pt idx="46">
                  <c:v>3/24/2024</c:v>
                </c:pt>
                <c:pt idx="47">
                  <c:v>3/31/2024</c:v>
                </c:pt>
                <c:pt idx="48">
                  <c:v>7/4/2024</c:v>
                </c:pt>
                <c:pt idx="49">
                  <c:v>4/14/2024</c:v>
                </c:pt>
                <c:pt idx="50">
                  <c:v>4/21/2024</c:v>
                </c:pt>
                <c:pt idx="51">
                  <c:v>4/28/2024</c:v>
                </c:pt>
              </c:strCache>
            </c:strRef>
          </c:cat>
          <c:val>
            <c:numRef>
              <c:f>Sheet1!$B$2:$B$53</c:f>
              <c:numCache>
                <c:formatCode>General</c:formatCode>
                <c:ptCount val="52"/>
                <c:pt idx="2" formatCode="0%">
                  <c:v>0.11367872175570121</c:v>
                </c:pt>
                <c:pt idx="3" formatCode="0%">
                  <c:v>0.12132533378739771</c:v>
                </c:pt>
                <c:pt idx="4" formatCode="0%">
                  <c:v>0.2148614964962611</c:v>
                </c:pt>
                <c:pt idx="5" formatCode="0%">
                  <c:v>0.17336822212530892</c:v>
                </c:pt>
                <c:pt idx="6" formatCode="0%">
                  <c:v>0.16371495760272436</c:v>
                </c:pt>
                <c:pt idx="7" formatCode="0%">
                  <c:v>0.359005905511811</c:v>
                </c:pt>
                <c:pt idx="8" formatCode="0%">
                  <c:v>0.35807339627396623</c:v>
                </c:pt>
                <c:pt idx="9" formatCode="0%">
                  <c:v>0.3262485253637436</c:v>
                </c:pt>
                <c:pt idx="10" formatCode="0%">
                  <c:v>0.18571348293560108</c:v>
                </c:pt>
                <c:pt idx="11" formatCode="0%">
                  <c:v>0.14821256608297467</c:v>
                </c:pt>
                <c:pt idx="12" formatCode="0%">
                  <c:v>0.11874984490930296</c:v>
                </c:pt>
                <c:pt idx="13" formatCode="0%">
                  <c:v>0.26535114062005177</c:v>
                </c:pt>
                <c:pt idx="22" formatCode="0%">
                  <c:v>0.40337942434339991</c:v>
                </c:pt>
                <c:pt idx="23" formatCode="0%">
                  <c:v>0.48057218130862606</c:v>
                </c:pt>
                <c:pt idx="24" formatCode="0%">
                  <c:v>8.1719681066375477E-2</c:v>
                </c:pt>
                <c:pt idx="34" formatCode="0%">
                  <c:v>0.14244945048272512</c:v>
                </c:pt>
                <c:pt idx="41" formatCode="0%">
                  <c:v>0.47272657381187294</c:v>
                </c:pt>
                <c:pt idx="42" formatCode="0%">
                  <c:v>0.62001930605459321</c:v>
                </c:pt>
                <c:pt idx="43" formatCode="0%">
                  <c:v>0.40657862283907709</c:v>
                </c:pt>
              </c:numCache>
            </c:numRef>
          </c:val>
          <c:smooth val="0"/>
          <c:extLst>
            <c:ext xmlns:c16="http://schemas.microsoft.com/office/drawing/2014/chart" uri="{C3380CC4-5D6E-409C-BE32-E72D297353CC}">
              <c16:uniqueId val="{00000001-6B0A-4292-A357-CC7FA9851ABC}"/>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630832953738916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dLbls>
            <c:dLbl>
              <c:idx val="0"/>
              <c:tx>
                <c:rich>
                  <a:bodyPr/>
                  <a:lstStyle/>
                  <a:p>
                    <a:fld id="{B24B8392-A900-4B13-B979-519785B56F6E}"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B77E-4F29-87DF-0FE64D0B037A}"/>
                </c:ext>
              </c:extLst>
            </c:dLbl>
            <c:dLbl>
              <c:idx val="1"/>
              <c:tx>
                <c:rich>
                  <a:bodyPr/>
                  <a:lstStyle/>
                  <a:p>
                    <a:fld id="{FD6E598B-FDF1-466D-93FA-D6C12EB6869F}"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77E-4F29-87DF-0FE64D0B037A}"/>
                </c:ext>
              </c:extLst>
            </c:dLbl>
            <c:dLbl>
              <c:idx val="2"/>
              <c:tx>
                <c:rich>
                  <a:bodyPr/>
                  <a:lstStyle/>
                  <a:p>
                    <a:fld id="{A136E16E-C7B7-4195-9048-87D02CAB58DF}"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B77E-4F29-87DF-0FE64D0B037A}"/>
                </c:ext>
              </c:extLst>
            </c:dLbl>
            <c:dLbl>
              <c:idx val="3"/>
              <c:tx>
                <c:rich>
                  <a:bodyPr/>
                  <a:lstStyle/>
                  <a:p>
                    <a:fld id="{9C9EE2F1-50C1-427E-BCCF-B544473BBB33}"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77E-4F29-87DF-0FE64D0B037A}"/>
                </c:ext>
              </c:extLst>
            </c:dLbl>
            <c:dLbl>
              <c:idx val="4"/>
              <c:tx>
                <c:rich>
                  <a:bodyPr/>
                  <a:lstStyle/>
                  <a:p>
                    <a:fld id="{4DA471B3-7DFB-4E0A-984A-B89DD1891705}"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B77E-4F29-87DF-0FE64D0B037A}"/>
                </c:ext>
              </c:extLst>
            </c:dLbl>
            <c:dLbl>
              <c:idx val="5"/>
              <c:tx>
                <c:rich>
                  <a:bodyPr/>
                  <a:lstStyle/>
                  <a:p>
                    <a:fld id="{83CB634C-7ED8-400F-A15A-36A2ED745183}"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77E-4F29-87DF-0FE64D0B037A}"/>
                </c:ext>
              </c:extLst>
            </c:dLbl>
            <c:dLbl>
              <c:idx val="6"/>
              <c:tx>
                <c:rich>
                  <a:bodyPr/>
                  <a:lstStyle/>
                  <a:p>
                    <a:fld id="{BC81C0A8-C977-49FB-BE1F-99D62728F0C4}"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B77E-4F29-87DF-0FE64D0B037A}"/>
                </c:ext>
              </c:extLst>
            </c:dLbl>
            <c:dLbl>
              <c:idx val="7"/>
              <c:tx>
                <c:rich>
                  <a:bodyPr/>
                  <a:lstStyle/>
                  <a:p>
                    <a:fld id="{D41AB723-2B78-4568-A88E-A3D5B5787F36}"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77E-4F29-87DF-0FE64D0B037A}"/>
                </c:ext>
              </c:extLst>
            </c:dLbl>
            <c:dLbl>
              <c:idx val="8"/>
              <c:tx>
                <c:rich>
                  <a:bodyPr/>
                  <a:lstStyle/>
                  <a:p>
                    <a:fld id="{376A6CF2-C71B-4353-A155-282EF004E309}"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B77E-4F29-87DF-0FE64D0B037A}"/>
                </c:ext>
              </c:extLst>
            </c:dLbl>
            <c:dLbl>
              <c:idx val="9"/>
              <c:tx>
                <c:rich>
                  <a:bodyPr/>
                  <a:lstStyle/>
                  <a:p>
                    <a:fld id="{1A0F412A-FA6A-4B8F-BD2C-61F7BC2E0ECE}"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77E-4F29-87DF-0FE64D0B037A}"/>
                </c:ext>
              </c:extLst>
            </c:dLbl>
            <c:dLbl>
              <c:idx val="1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77E-4F29-87DF-0FE64D0B037A}"/>
                </c:ext>
              </c:extLst>
            </c:dLbl>
            <c:dLbl>
              <c:idx val="1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77E-4F29-87DF-0FE64D0B037A}"/>
                </c:ext>
              </c:extLst>
            </c:dLbl>
            <c:dLbl>
              <c:idx val="1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77E-4F29-87DF-0FE64D0B037A}"/>
                </c:ext>
              </c:extLst>
            </c:dLbl>
            <c:dLbl>
              <c:idx val="13"/>
              <c:tx>
                <c:rich>
                  <a:bodyPr/>
                  <a:lstStyle/>
                  <a:p>
                    <a:fld id="{FB978C11-FDDB-4145-84D9-E46BDA6011F3}"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77E-4F29-87DF-0FE64D0B037A}"/>
                </c:ext>
              </c:extLst>
            </c:dLbl>
            <c:dLbl>
              <c:idx val="14"/>
              <c:tx>
                <c:rich>
                  <a:bodyPr/>
                  <a:lstStyle/>
                  <a:p>
                    <a:fld id="{CB9B6729-7C62-437B-AE96-2980A3CF07E7}"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B77E-4F29-87DF-0FE64D0B037A}"/>
                </c:ext>
              </c:extLst>
            </c:dLbl>
            <c:dLbl>
              <c:idx val="15"/>
              <c:tx>
                <c:rich>
                  <a:bodyPr/>
                  <a:lstStyle/>
                  <a:p>
                    <a:fld id="{0BE1131D-2296-4CFC-8D1A-85848F3D365B}"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77E-4F29-87DF-0FE64D0B037A}"/>
                </c:ext>
              </c:extLst>
            </c:dLbl>
            <c:dLbl>
              <c:idx val="1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B77E-4F29-87DF-0FE64D0B037A}"/>
                </c:ext>
              </c:extLst>
            </c:dLbl>
            <c:dLbl>
              <c:idx val="1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B77E-4F29-87DF-0FE64D0B037A}"/>
                </c:ext>
              </c:extLst>
            </c:dLbl>
            <c:dLbl>
              <c:idx val="1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B77E-4F29-87DF-0FE64D0B037A}"/>
                </c:ext>
              </c:extLst>
            </c:dLbl>
            <c:dLbl>
              <c:idx val="19"/>
              <c:tx>
                <c:rich>
                  <a:bodyPr/>
                  <a:lstStyle/>
                  <a:p>
                    <a:fld id="{8103A91B-0548-4F64-A851-62C3CA5D4262}"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77E-4F29-87DF-0FE64D0B037A}"/>
                </c:ext>
              </c:extLst>
            </c:dLbl>
            <c:dLbl>
              <c:idx val="20"/>
              <c:tx>
                <c:rich>
                  <a:bodyPr/>
                  <a:lstStyle/>
                  <a:p>
                    <a:fld id="{2A9933C4-069B-44D4-BADC-884BDC1AB8E3}"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77E-4F29-87DF-0FE64D0B037A}"/>
                </c:ext>
              </c:extLst>
            </c:dLbl>
            <c:dLbl>
              <c:idx val="21"/>
              <c:tx>
                <c:rich>
                  <a:bodyPr/>
                  <a:lstStyle/>
                  <a:p>
                    <a:fld id="{B8D0C62C-9D84-402A-A139-0053E7D27532}"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77E-4F29-87DF-0FE64D0B037A}"/>
                </c:ext>
              </c:extLst>
            </c:dLbl>
            <c:dLbl>
              <c:idx val="2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77E-4F29-87DF-0FE64D0B037A}"/>
                </c:ext>
              </c:extLst>
            </c:dLbl>
            <c:dLbl>
              <c:idx val="23"/>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77E-4F29-87DF-0FE64D0B037A}"/>
                </c:ext>
              </c:extLst>
            </c:dLbl>
            <c:dLbl>
              <c:idx val="2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B77E-4F29-87DF-0FE64D0B037A}"/>
                </c:ext>
              </c:extLst>
            </c:dLbl>
            <c:dLbl>
              <c:idx val="25"/>
              <c:tx>
                <c:rich>
                  <a:bodyPr/>
                  <a:lstStyle/>
                  <a:p>
                    <a:fld id="{EEE10EA7-2F46-41E0-B727-4659927BD391}"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77E-4F29-87DF-0FE64D0B037A}"/>
                </c:ext>
              </c:extLst>
            </c:dLbl>
            <c:dLbl>
              <c:idx val="26"/>
              <c:tx>
                <c:rich>
                  <a:bodyPr/>
                  <a:lstStyle/>
                  <a:p>
                    <a:fld id="{381A2413-6BD0-4079-8C9A-481B6378603C}"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77E-4F29-87DF-0FE64D0B037A}"/>
                </c:ext>
              </c:extLst>
            </c:dLbl>
            <c:dLbl>
              <c:idx val="27"/>
              <c:tx>
                <c:rich>
                  <a:bodyPr/>
                  <a:lstStyle/>
                  <a:p>
                    <a:fld id="{77171F00-EB86-4328-82B1-A253971B9B0E}"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77E-4F29-87DF-0FE64D0B037A}"/>
                </c:ext>
              </c:extLst>
            </c:dLbl>
            <c:dLbl>
              <c:idx val="28"/>
              <c:tx>
                <c:rich>
                  <a:bodyPr/>
                  <a:lstStyle/>
                  <a:p>
                    <a:fld id="{65F2C9AB-FBE1-4475-8267-7D1C6EF7D487}"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77E-4F29-87DF-0FE64D0B037A}"/>
                </c:ext>
              </c:extLst>
            </c:dLbl>
            <c:dLbl>
              <c:idx val="29"/>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B77E-4F29-87DF-0FE64D0B037A}"/>
                </c:ext>
              </c:extLst>
            </c:dLbl>
            <c:dLbl>
              <c:idx val="3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E-B77E-4F29-87DF-0FE64D0B037A}"/>
                </c:ext>
              </c:extLst>
            </c:dLbl>
            <c:dLbl>
              <c:idx val="31"/>
              <c:tx>
                <c:rich>
                  <a:bodyPr/>
                  <a:lstStyle/>
                  <a:p>
                    <a:fld id="{3797D993-3437-4E3E-9172-1E30AB15C03A}"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77E-4F29-87DF-0FE64D0B037A}"/>
                </c:ext>
              </c:extLst>
            </c:dLbl>
            <c:dLbl>
              <c:idx val="32"/>
              <c:tx>
                <c:rich>
                  <a:bodyPr/>
                  <a:lstStyle/>
                  <a:p>
                    <a:fld id="{18B03B16-DC24-4A2F-90BF-B04EE35455E7}"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77E-4F29-87DF-0FE64D0B037A}"/>
                </c:ext>
              </c:extLst>
            </c:dLbl>
            <c:dLbl>
              <c:idx val="33"/>
              <c:tx>
                <c:rich>
                  <a:bodyPr/>
                  <a:lstStyle/>
                  <a:p>
                    <a:fld id="{43AC5E2C-2C6E-4B0A-B0A6-725B45459BAD}"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77E-4F29-87DF-0FE64D0B037A}"/>
                </c:ext>
              </c:extLst>
            </c:dLbl>
            <c:dLbl>
              <c:idx val="3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B77E-4F29-87DF-0FE64D0B037A}"/>
                </c:ext>
              </c:extLst>
            </c:dLbl>
            <c:dLbl>
              <c:idx val="35"/>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B77E-4F29-87DF-0FE64D0B037A}"/>
                </c:ext>
              </c:extLst>
            </c:dLbl>
            <c:dLbl>
              <c:idx val="3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B77E-4F29-87DF-0FE64D0B037A}"/>
                </c:ext>
              </c:extLst>
            </c:dLbl>
            <c:dLbl>
              <c:idx val="37"/>
              <c:tx>
                <c:rich>
                  <a:bodyPr/>
                  <a:lstStyle/>
                  <a:p>
                    <a:fld id="{397F4EA1-2B28-421A-A9AA-0038E7CD158A}"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77E-4F29-87DF-0FE64D0B037A}"/>
                </c:ext>
              </c:extLst>
            </c:dLbl>
            <c:dLbl>
              <c:idx val="38"/>
              <c:tx>
                <c:rich>
                  <a:bodyPr/>
                  <a:lstStyle/>
                  <a:p>
                    <a:fld id="{67F2AE96-2885-4945-88CB-6190C1719157}" type="CELLRANGE">
                      <a:rPr lang="en-CH"/>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77E-4F29-87DF-0FE64D0B037A}"/>
                </c:ext>
              </c:extLst>
            </c:dLbl>
            <c:dLbl>
              <c:idx val="39"/>
              <c:tx>
                <c:rich>
                  <a:bodyPr/>
                  <a:lstStyle/>
                  <a:p>
                    <a:fld id="{3D517965-DC9C-4FE5-9F3D-30F3967F199F}"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77E-4F29-87DF-0FE64D0B037A}"/>
                </c:ext>
              </c:extLst>
            </c:dLbl>
            <c:dLbl>
              <c:idx val="4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8-B77E-4F29-87DF-0FE64D0B037A}"/>
                </c:ext>
              </c:extLst>
            </c:dLbl>
            <c:dLbl>
              <c:idx val="4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9-B77E-4F29-87DF-0FE64D0B037A}"/>
                </c:ext>
              </c:extLst>
            </c:dLbl>
            <c:dLbl>
              <c:idx val="4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B77E-4F29-87DF-0FE64D0B037A}"/>
                </c:ext>
              </c:extLst>
            </c:dLbl>
            <c:dLbl>
              <c:idx val="43"/>
              <c:tx>
                <c:rich>
                  <a:bodyPr/>
                  <a:lstStyle/>
                  <a:p>
                    <a:fld id="{5B93807C-D0E8-41E5-B352-72FA8D878EB6}"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77E-4F29-87DF-0FE64D0B037A}"/>
                </c:ext>
              </c:extLst>
            </c:dLbl>
            <c:dLbl>
              <c:idx val="44"/>
              <c:tx>
                <c:rich>
                  <a:bodyPr/>
                  <a:lstStyle/>
                  <a:p>
                    <a:fld id="{75E6D122-44CC-4DA8-91DB-166E340ACC02}"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77E-4F29-87DF-0FE64D0B037A}"/>
                </c:ext>
              </c:extLst>
            </c:dLbl>
            <c:dLbl>
              <c:idx val="45"/>
              <c:tx>
                <c:rich>
                  <a:bodyPr/>
                  <a:lstStyle/>
                  <a:p>
                    <a:fld id="{EC82682B-471C-48F2-8F6D-70EF6A0662F7}"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77E-4F29-87DF-0FE64D0B037A}"/>
                </c:ext>
              </c:extLst>
            </c:dLbl>
            <c:dLbl>
              <c:idx val="4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E-B77E-4F29-87DF-0FE64D0B037A}"/>
                </c:ext>
              </c:extLst>
            </c:dLbl>
            <c:dLbl>
              <c:idx val="4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F-B77E-4F29-87DF-0FE64D0B037A}"/>
                </c:ext>
              </c:extLst>
            </c:dLbl>
            <c:dLbl>
              <c:idx val="4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0-B77E-4F29-87DF-0FE64D0B037A}"/>
                </c:ext>
              </c:extLst>
            </c:dLbl>
            <c:dLbl>
              <c:idx val="49"/>
              <c:tx>
                <c:rich>
                  <a:bodyPr/>
                  <a:lstStyle/>
                  <a:p>
                    <a:fld id="{8DAE423A-3D64-4F9A-AEC7-47FFAC8645D0}"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77E-4F29-87DF-0FE64D0B037A}"/>
                </c:ext>
              </c:extLst>
            </c:dLbl>
            <c:dLbl>
              <c:idx val="50"/>
              <c:tx>
                <c:rich>
                  <a:bodyPr/>
                  <a:lstStyle/>
                  <a:p>
                    <a:fld id="{BA4B591C-F0A7-4E74-BA72-B381A8B5D86E}"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77E-4F29-87DF-0FE64D0B037A}"/>
                </c:ext>
              </c:extLst>
            </c:dLbl>
            <c:dLbl>
              <c:idx val="51"/>
              <c:tx>
                <c:rich>
                  <a:bodyPr/>
                  <a:lstStyle/>
                  <a:p>
                    <a:fld id="{943619FA-0CF8-4C50-937F-AA394ADE577A}"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77E-4F29-87DF-0FE64D0B037A}"/>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0%;0%</c:formatCode>
                <c:ptCount val="52"/>
                <c:pt idx="0">
                  <c:v>1</c:v>
                </c:pt>
                <c:pt idx="1">
                  <c:v>1</c:v>
                </c:pt>
                <c:pt idx="2">
                  <c:v>1</c:v>
                </c:pt>
                <c:pt idx="3">
                  <c:v>1</c:v>
                </c:pt>
                <c:pt idx="4">
                  <c:v>1</c:v>
                </c:pt>
                <c:pt idx="5">
                  <c:v>1</c:v>
                </c:pt>
                <c:pt idx="6">
                  <c:v>1</c:v>
                </c:pt>
                <c:pt idx="7">
                  <c:v>1</c:v>
                </c:pt>
                <c:pt idx="8">
                  <c:v>1</c:v>
                </c:pt>
                <c:pt idx="9">
                  <c:v>1</c:v>
                </c:pt>
                <c:pt idx="10">
                  <c:v>#N/A</c:v>
                </c:pt>
                <c:pt idx="11">
                  <c:v>#N/A</c:v>
                </c:pt>
                <c:pt idx="12">
                  <c:v>#N/A</c:v>
                </c:pt>
                <c:pt idx="13">
                  <c:v>1</c:v>
                </c:pt>
                <c:pt idx="14">
                  <c:v>1</c:v>
                </c:pt>
                <c:pt idx="15">
                  <c:v>1</c:v>
                </c:pt>
                <c:pt idx="16">
                  <c:v>#N/A</c:v>
                </c:pt>
                <c:pt idx="17">
                  <c:v>#N/A</c:v>
                </c:pt>
                <c:pt idx="18">
                  <c:v>#N/A</c:v>
                </c:pt>
                <c:pt idx="19">
                  <c:v>1</c:v>
                </c:pt>
                <c:pt idx="20">
                  <c:v>1</c:v>
                </c:pt>
                <c:pt idx="21">
                  <c:v>1</c:v>
                </c:pt>
                <c:pt idx="22">
                  <c:v>#N/A</c:v>
                </c:pt>
                <c:pt idx="23">
                  <c:v>#N/A</c:v>
                </c:pt>
                <c:pt idx="24">
                  <c:v>#N/A</c:v>
                </c:pt>
                <c:pt idx="25">
                  <c:v>1</c:v>
                </c:pt>
                <c:pt idx="26">
                  <c:v>1</c:v>
                </c:pt>
                <c:pt idx="27">
                  <c:v>1</c:v>
                </c:pt>
                <c:pt idx="28">
                  <c:v>1</c:v>
                </c:pt>
                <c:pt idx="29">
                  <c:v>#N/A</c:v>
                </c:pt>
                <c:pt idx="30">
                  <c:v>#N/A</c:v>
                </c:pt>
                <c:pt idx="31">
                  <c:v>1</c:v>
                </c:pt>
                <c:pt idx="32">
                  <c:v>1</c:v>
                </c:pt>
                <c:pt idx="33">
                  <c:v>1</c:v>
                </c:pt>
                <c:pt idx="34">
                  <c:v>#N/A</c:v>
                </c:pt>
                <c:pt idx="35">
                  <c:v>#N/A</c:v>
                </c:pt>
                <c:pt idx="36">
                  <c:v>#N/A</c:v>
                </c:pt>
                <c:pt idx="37">
                  <c:v>1</c:v>
                </c:pt>
                <c:pt idx="38">
                  <c:v>1</c:v>
                </c:pt>
                <c:pt idx="39">
                  <c:v>1</c:v>
                </c:pt>
                <c:pt idx="40">
                  <c:v>#N/A</c:v>
                </c:pt>
                <c:pt idx="41">
                  <c:v>#N/A</c:v>
                </c:pt>
                <c:pt idx="42">
                  <c:v>#N/A</c:v>
                </c:pt>
                <c:pt idx="43">
                  <c:v>1</c:v>
                </c:pt>
                <c:pt idx="44">
                  <c:v>1</c:v>
                </c:pt>
                <c:pt idx="45">
                  <c:v>1</c:v>
                </c:pt>
                <c:pt idx="46">
                  <c:v>#N/A</c:v>
                </c:pt>
                <c:pt idx="47">
                  <c:v>#N/A</c:v>
                </c:pt>
                <c:pt idx="48">
                  <c:v>#N/A</c:v>
                </c:pt>
                <c:pt idx="49">
                  <c:v>1</c:v>
                </c:pt>
                <c:pt idx="50">
                  <c:v>1</c:v>
                </c:pt>
                <c:pt idx="51">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B77E-4F29-87DF-0FE64D0B037A}"/>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0%;0%</c:formatCode>
                <c:ptCount val="52"/>
                <c:pt idx="0">
                  <c:v>0.31741195933698862</c:v>
                </c:pt>
                <c:pt idx="1">
                  <c:v>0.55552518945359541</c:v>
                </c:pt>
                <c:pt idx="2">
                  <c:v>0.47761625108308464</c:v>
                </c:pt>
                <c:pt idx="3">
                  <c:v>0.43712699308174235</c:v>
                </c:pt>
                <c:pt idx="4">
                  <c:v>0.36264807702176205</c:v>
                </c:pt>
                <c:pt idx="5">
                  <c:v>0.38422904683399911</c:v>
                </c:pt>
                <c:pt idx="6">
                  <c:v>0.40742054727108346</c:v>
                </c:pt>
                <c:pt idx="7">
                  <c:v>1.0321668026535173</c:v>
                </c:pt>
                <c:pt idx="8">
                  <c:v>0.5462931131314438</c:v>
                </c:pt>
                <c:pt idx="9">
                  <c:v>0.76245047295306534</c:v>
                </c:pt>
                <c:pt idx="10">
                  <c:v>#N/A</c:v>
                </c:pt>
                <c:pt idx="11">
                  <c:v>#N/A</c:v>
                </c:pt>
                <c:pt idx="12">
                  <c:v>#N/A</c:v>
                </c:pt>
                <c:pt idx="13">
                  <c:v>0.2685619698185851</c:v>
                </c:pt>
                <c:pt idx="14">
                  <c:v>0.60045689300840521</c:v>
                </c:pt>
                <c:pt idx="15">
                  <c:v>0.3622105904776648</c:v>
                </c:pt>
                <c:pt idx="16">
                  <c:v>#N/A</c:v>
                </c:pt>
                <c:pt idx="17">
                  <c:v>#N/A</c:v>
                </c:pt>
                <c:pt idx="18">
                  <c:v>#N/A</c:v>
                </c:pt>
                <c:pt idx="19">
                  <c:v>0.10463941845632306</c:v>
                </c:pt>
                <c:pt idx="20">
                  <c:v>0.52569649178121824</c:v>
                </c:pt>
                <c:pt idx="21">
                  <c:v>0.14491334978561482</c:v>
                </c:pt>
                <c:pt idx="22">
                  <c:v>#N/A</c:v>
                </c:pt>
                <c:pt idx="23">
                  <c:v>#N/A</c:v>
                </c:pt>
                <c:pt idx="24">
                  <c:v>#N/A</c:v>
                </c:pt>
                <c:pt idx="25">
                  <c:v>0.18886446202424201</c:v>
                </c:pt>
                <c:pt idx="26">
                  <c:v>0.22372048262984959</c:v>
                </c:pt>
                <c:pt idx="27">
                  <c:v>0.36828644501278773</c:v>
                </c:pt>
                <c:pt idx="28">
                  <c:v>#N/A</c:v>
                </c:pt>
                <c:pt idx="29">
                  <c:v>#N/A</c:v>
                </c:pt>
                <c:pt idx="30">
                  <c:v>#N/A</c:v>
                </c:pt>
                <c:pt idx="31">
                  <c:v>0.12294597048113506</c:v>
                </c:pt>
                <c:pt idx="32">
                  <c:v>0.50035194109047598</c:v>
                </c:pt>
                <c:pt idx="33">
                  <c:v>0.41802358537751055</c:v>
                </c:pt>
                <c:pt idx="34">
                  <c:v>#N/A</c:v>
                </c:pt>
                <c:pt idx="35">
                  <c:v>#N/A</c:v>
                </c:pt>
                <c:pt idx="36">
                  <c:v>#N/A</c:v>
                </c:pt>
                <c:pt idx="37">
                  <c:v>0.86697921202118289</c:v>
                </c:pt>
                <c:pt idx="38">
                  <c:v>2.5595210495451881</c:v>
                </c:pt>
                <c:pt idx="39">
                  <c:v>0.36886480958675349</c:v>
                </c:pt>
                <c:pt idx="40">
                  <c:v>#N/A</c:v>
                </c:pt>
                <c:pt idx="41">
                  <c:v>#N/A</c:v>
                </c:pt>
                <c:pt idx="42">
                  <c:v>#N/A</c:v>
                </c:pt>
                <c:pt idx="43">
                  <c:v>0.90170890150406746</c:v>
                </c:pt>
                <c:pt idx="44">
                  <c:v>1.048028435450546</c:v>
                </c:pt>
                <c:pt idx="45">
                  <c:v>0.34420385076843968</c:v>
                </c:pt>
                <c:pt idx="46">
                  <c:v>#N/A</c:v>
                </c:pt>
                <c:pt idx="47">
                  <c:v>#N/A</c:v>
                </c:pt>
                <c:pt idx="48">
                  <c:v>#N/A</c:v>
                </c:pt>
                <c:pt idx="49">
                  <c:v>1.3343675915403637</c:v>
                </c:pt>
                <c:pt idx="50">
                  <c:v>1.0787224336125691</c:v>
                </c:pt>
                <c:pt idx="51">
                  <c:v>0.33774114750629919</c:v>
                </c:pt>
              </c:numCache>
            </c:numRef>
          </c:val>
          <c:smooth val="0"/>
          <c:extLst>
            <c:ext xmlns:c16="http://schemas.microsoft.com/office/drawing/2014/chart" uri="{C3380CC4-5D6E-409C-BE32-E72D297353CC}">
              <c16:uniqueId val="{00000035-B77E-4F29-87DF-0FE64D0B037A}"/>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fld id="{C31AF921-9627-4D1E-8370-CDABD223008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fld id="{8E6099A8-83D3-4A98-AACA-277458E94AD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E4B-4312-8F62-0B51F9A74EE8}"/>
                </c:ext>
              </c:extLst>
            </c:dLbl>
            <c:dLbl>
              <c:idx val="2"/>
              <c:tx>
                <c:rich>
                  <a:bodyPr wrap="square" lIns="38100" tIns="19050" rIns="38100" bIns="19050" anchor="ctr">
                    <a:noAutofit/>
                  </a:bodyPr>
                  <a:lstStyle/>
                  <a:p>
                    <a:pPr>
                      <a:defRPr>
                        <a:solidFill>
                          <a:schemeClr val="tx2"/>
                        </a:solidFill>
                      </a:defRPr>
                    </a:pPr>
                    <a:fld id="{2ACB67BA-0767-428C-A44F-BC1663BC8CB5}" type="CELLRANGE">
                      <a:rPr lang="en-US" dirty="0">
                        <a:solidFill>
                          <a:schemeClr val="tx2"/>
                        </a:solidFill>
                      </a:rPr>
                      <a:pPr>
                        <a:defRPr>
                          <a:solidFill>
                            <a:schemeClr val="tx2"/>
                          </a:solidFill>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BD6AB884-2542-4621-8CDA-7BBC0E9619A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63-48D8-B751-EA6AD3438C92}"/>
                </c:ext>
              </c:extLst>
            </c:dLbl>
            <c:dLbl>
              <c:idx val="4"/>
              <c:tx>
                <c:rich>
                  <a:bodyPr/>
                  <a:lstStyle/>
                  <a:p>
                    <a:fld id="{F6363637-F1BB-44C1-BBE7-496DD687995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363-48D8-B751-EA6AD3438C92}"/>
                </c:ext>
              </c:extLst>
            </c:dLbl>
            <c:dLbl>
              <c:idx val="5"/>
              <c:tx>
                <c:rich>
                  <a:bodyPr/>
                  <a:lstStyle/>
                  <a:p>
                    <a:fld id="{7DC4E2D2-78F6-442E-B30A-11DDEB9116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3363-48D8-B751-EA6AD3438C92}"/>
                </c:ext>
              </c:extLst>
            </c:dLbl>
            <c:dLbl>
              <c:idx val="6"/>
              <c:tx>
                <c:rich>
                  <a:bodyPr/>
                  <a:lstStyle/>
                  <a:p>
                    <a:fld id="{908DA1C2-E8B3-48F6-97FE-DCC73DA1918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3363-48D8-B751-EA6AD3438C92}"/>
                </c:ext>
              </c:extLst>
            </c:dLbl>
            <c:dLbl>
              <c:idx val="7"/>
              <c:tx>
                <c:rich>
                  <a:bodyPr/>
                  <a:lstStyle/>
                  <a:p>
                    <a:fld id="{20AC3442-A9E0-432D-A82A-427C8CDCD93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3363-48D8-B751-EA6AD3438C92}"/>
                </c:ext>
              </c:extLst>
            </c:dLbl>
            <c:dLbl>
              <c:idx val="8"/>
              <c:tx>
                <c:rich>
                  <a:bodyPr/>
                  <a:lstStyle/>
                  <a:p>
                    <a:fld id="{FA9B0651-E77F-4568-95C0-435829B3C9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3363-48D8-B751-EA6AD3438C92}"/>
                </c:ext>
              </c:extLst>
            </c:dLbl>
            <c:dLbl>
              <c:idx val="9"/>
              <c:tx>
                <c:rich>
                  <a:bodyPr/>
                  <a:lstStyle/>
                  <a:p>
                    <a:fld id="{EBFF4547-D591-412A-B769-ECF473E416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3363-48D8-B751-EA6AD3438C92}"/>
                </c:ext>
              </c:extLst>
            </c:dLbl>
            <c:dLbl>
              <c:idx val="10"/>
              <c:tx>
                <c:rich>
                  <a:bodyPr/>
                  <a:lstStyle/>
                  <a:p>
                    <a:fld id="{EC16EAB7-35D3-4A9E-895F-03F79730743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3363-48D8-B751-EA6AD3438C92}"/>
                </c:ext>
              </c:extLst>
            </c:dLbl>
            <c:dLbl>
              <c:idx val="11"/>
              <c:tx>
                <c:rich>
                  <a:bodyPr/>
                  <a:lstStyle/>
                  <a:p>
                    <a:fld id="{85369A66-81AD-4729-9B23-703ADD371EF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3363-48D8-B751-EA6AD3438C92}"/>
                </c:ext>
              </c:extLst>
            </c:dLbl>
            <c:dLbl>
              <c:idx val="12"/>
              <c:tx>
                <c:rich>
                  <a:bodyPr/>
                  <a:lstStyle/>
                  <a:p>
                    <a:fld id="{EC1BC3BF-181F-4481-A5F8-F55594962E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3363-48D8-B751-EA6AD3438C92}"/>
                </c:ext>
              </c:extLst>
            </c:dLbl>
            <c:dLbl>
              <c:idx val="13"/>
              <c:tx>
                <c:rich>
                  <a:bodyPr/>
                  <a:lstStyle/>
                  <a:p>
                    <a:fld id="{8F405955-C50D-4284-B7B6-E9D4F63804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3363-48D8-B751-EA6AD3438C92}"/>
                </c:ext>
              </c:extLst>
            </c:dLbl>
            <c:dLbl>
              <c:idx val="14"/>
              <c:tx>
                <c:rich>
                  <a:bodyPr/>
                  <a:lstStyle/>
                  <a:p>
                    <a:fld id="{F20057DE-258C-4271-BCEA-3DB03121E9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3363-48D8-B751-EA6AD3438C92}"/>
                </c:ext>
              </c:extLst>
            </c:dLbl>
            <c:dLbl>
              <c:idx val="15"/>
              <c:tx>
                <c:rich>
                  <a:bodyPr/>
                  <a:lstStyle/>
                  <a:p>
                    <a:fld id="{CD83777F-E401-4CD6-B243-82E94762AEE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3363-48D8-B751-EA6AD3438C92}"/>
                </c:ext>
              </c:extLst>
            </c:dLbl>
            <c:dLbl>
              <c:idx val="16"/>
              <c:tx>
                <c:rich>
                  <a:bodyPr/>
                  <a:lstStyle/>
                  <a:p>
                    <a:fld id="{C5F3D706-4C7D-4A59-BFF0-B0BCFA9F3AF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3363-48D8-B751-EA6AD3438C92}"/>
                </c:ext>
              </c:extLst>
            </c:dLbl>
            <c:dLbl>
              <c:idx val="17"/>
              <c:tx>
                <c:rich>
                  <a:bodyPr/>
                  <a:lstStyle/>
                  <a:p>
                    <a:fld id="{7E2F23A1-1D07-43F0-A2CE-ACBFAF27D1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3363-48D8-B751-EA6AD3438C92}"/>
                </c:ext>
              </c:extLst>
            </c:dLbl>
            <c:dLbl>
              <c:idx val="18"/>
              <c:tx>
                <c:rich>
                  <a:bodyPr/>
                  <a:lstStyle/>
                  <a:p>
                    <a:fld id="{C07AFC25-3257-4D88-AA5E-22D31BEC7C6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3363-48D8-B751-EA6AD3438C92}"/>
                </c:ext>
              </c:extLst>
            </c:dLbl>
            <c:dLbl>
              <c:idx val="19"/>
              <c:tx>
                <c:rich>
                  <a:bodyPr/>
                  <a:lstStyle/>
                  <a:p>
                    <a:fld id="{D89F4AB5-0440-417D-8182-3893886572E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3363-48D8-B751-EA6AD3438C92}"/>
                </c:ext>
              </c:extLst>
            </c:dLbl>
            <c:dLbl>
              <c:idx val="20"/>
              <c:tx>
                <c:rich>
                  <a:bodyPr/>
                  <a:lstStyle/>
                  <a:p>
                    <a:fld id="{10D0D77A-73B9-43FC-8E1F-27598B685CA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3363-48D8-B751-EA6AD3438C92}"/>
                </c:ext>
              </c:extLst>
            </c:dLbl>
            <c:dLbl>
              <c:idx val="21"/>
              <c:tx>
                <c:rich>
                  <a:bodyPr/>
                  <a:lstStyle/>
                  <a:p>
                    <a:fld id="{A3A0D46D-1A11-43BA-BBDC-6F8A35938EA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3363-48D8-B751-EA6AD3438C92}"/>
                </c:ext>
              </c:extLst>
            </c:dLbl>
            <c:dLbl>
              <c:idx val="22"/>
              <c:tx>
                <c:rich>
                  <a:bodyPr/>
                  <a:lstStyle/>
                  <a:p>
                    <a:fld id="{FEA7624A-C236-44A4-AD8C-1278821B8A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3363-48D8-B751-EA6AD3438C92}"/>
                </c:ext>
              </c:extLst>
            </c:dLbl>
            <c:dLbl>
              <c:idx val="23"/>
              <c:tx>
                <c:rich>
                  <a:bodyPr/>
                  <a:lstStyle/>
                  <a:p>
                    <a:fld id="{540FB84C-64A6-4695-89B9-BA4C6485D25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3363-48D8-B751-EA6AD3438C92}"/>
                </c:ext>
              </c:extLst>
            </c:dLbl>
            <c:dLbl>
              <c:idx val="24"/>
              <c:tx>
                <c:rich>
                  <a:bodyPr/>
                  <a:lstStyle/>
                  <a:p>
                    <a:fld id="{87DA9808-8BA6-4803-9B8C-EE6A55B1A93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3363-48D8-B751-EA6AD3438C92}"/>
                </c:ext>
              </c:extLst>
            </c:dLbl>
            <c:dLbl>
              <c:idx val="25"/>
              <c:tx>
                <c:rich>
                  <a:bodyPr/>
                  <a:lstStyle/>
                  <a:p>
                    <a:fld id="{3848B00B-CAC7-465E-B095-744FAAAA1A8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3363-48D8-B751-EA6AD3438C92}"/>
                </c:ext>
              </c:extLst>
            </c:dLbl>
            <c:dLbl>
              <c:idx val="26"/>
              <c:tx>
                <c:rich>
                  <a:bodyPr/>
                  <a:lstStyle/>
                  <a:p>
                    <a:fld id="{44123190-BE44-4514-860A-F643C395DB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3363-48D8-B751-EA6AD3438C92}"/>
                </c:ext>
              </c:extLst>
            </c:dLbl>
            <c:dLbl>
              <c:idx val="27"/>
              <c:tx>
                <c:rich>
                  <a:bodyPr/>
                  <a:lstStyle/>
                  <a:p>
                    <a:fld id="{46A68E19-DBB6-4845-8F47-6D49732E644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3363-48D8-B751-EA6AD3438C92}"/>
                </c:ext>
              </c:extLst>
            </c:dLbl>
            <c:dLbl>
              <c:idx val="28"/>
              <c:tx>
                <c:rich>
                  <a:bodyPr/>
                  <a:lstStyle/>
                  <a:p>
                    <a:fld id="{6750C19D-1E71-4838-8092-D4CE042F946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3363-48D8-B751-EA6AD3438C92}"/>
                </c:ext>
              </c:extLst>
            </c:dLbl>
            <c:dLbl>
              <c:idx val="29"/>
              <c:tx>
                <c:rich>
                  <a:bodyPr/>
                  <a:lstStyle/>
                  <a:p>
                    <a:fld id="{03D2BEF1-FDA7-4C07-B95E-796998853E1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3363-48D8-B751-EA6AD3438C92}"/>
                </c:ext>
              </c:extLst>
            </c:dLbl>
            <c:dLbl>
              <c:idx val="30"/>
              <c:tx>
                <c:rich>
                  <a:bodyPr/>
                  <a:lstStyle/>
                  <a:p>
                    <a:fld id="{918CB323-AAC0-4EEC-9C75-35CBA5B150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3363-48D8-B751-EA6AD3438C92}"/>
                </c:ext>
              </c:extLst>
            </c:dLbl>
            <c:dLbl>
              <c:idx val="31"/>
              <c:tx>
                <c:rich>
                  <a:bodyPr/>
                  <a:lstStyle/>
                  <a:p>
                    <a:fld id="{A0AFD42F-B306-4828-BEF2-AF117F8D126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3363-48D8-B751-EA6AD3438C92}"/>
                </c:ext>
              </c:extLst>
            </c:dLbl>
            <c:dLbl>
              <c:idx val="32"/>
              <c:tx>
                <c:rich>
                  <a:bodyPr/>
                  <a:lstStyle/>
                  <a:p>
                    <a:fld id="{8A5248BE-D0CA-4425-A0BD-C8520676A69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3363-48D8-B751-EA6AD3438C92}"/>
                </c:ext>
              </c:extLst>
            </c:dLbl>
            <c:dLbl>
              <c:idx val="33"/>
              <c:tx>
                <c:rich>
                  <a:bodyPr/>
                  <a:lstStyle/>
                  <a:p>
                    <a:fld id="{18156CA4-3DC5-4513-8C6A-704C10CEFFB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3363-48D8-B751-EA6AD3438C92}"/>
                </c:ext>
              </c:extLst>
            </c:dLbl>
            <c:dLbl>
              <c:idx val="34"/>
              <c:tx>
                <c:rich>
                  <a:bodyPr/>
                  <a:lstStyle/>
                  <a:p>
                    <a:fld id="{B1F69B94-56DB-446D-B12B-42B810E2C40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3363-48D8-B751-EA6AD3438C92}"/>
                </c:ext>
              </c:extLst>
            </c:dLbl>
            <c:dLbl>
              <c:idx val="35"/>
              <c:tx>
                <c:rich>
                  <a:bodyPr/>
                  <a:lstStyle/>
                  <a:p>
                    <a:fld id="{52E60BDE-0B69-40CF-8090-B0549B5B2D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3363-48D8-B751-EA6AD3438C92}"/>
                </c:ext>
              </c:extLst>
            </c:dLbl>
            <c:dLbl>
              <c:idx val="36"/>
              <c:tx>
                <c:rich>
                  <a:bodyPr/>
                  <a:lstStyle/>
                  <a:p>
                    <a:fld id="{0057C696-DE32-4400-902B-357429C9F3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3363-48D8-B751-EA6AD3438C92}"/>
                </c:ext>
              </c:extLst>
            </c:dLbl>
            <c:dLbl>
              <c:idx val="37"/>
              <c:tx>
                <c:rich>
                  <a:bodyPr/>
                  <a:lstStyle/>
                  <a:p>
                    <a:fld id="{940C2267-98A1-4395-AF8F-96030A3202B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3363-48D8-B751-EA6AD3438C92}"/>
                </c:ext>
              </c:extLst>
            </c:dLbl>
            <c:dLbl>
              <c:idx val="38"/>
              <c:tx>
                <c:rich>
                  <a:bodyPr/>
                  <a:lstStyle/>
                  <a:p>
                    <a:fld id="{3A1B8A3E-30EA-4F73-97DB-D1E3C214203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3363-48D8-B751-EA6AD3438C92}"/>
                </c:ext>
              </c:extLst>
            </c:dLbl>
            <c:dLbl>
              <c:idx val="39"/>
              <c:tx>
                <c:rich>
                  <a:bodyPr/>
                  <a:lstStyle/>
                  <a:p>
                    <a:fld id="{B8FF320F-364B-4AD9-9806-A9B13F75D81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3363-48D8-B751-EA6AD3438C92}"/>
                </c:ext>
              </c:extLst>
            </c:dLbl>
            <c:dLbl>
              <c:idx val="40"/>
              <c:tx>
                <c:rich>
                  <a:bodyPr/>
                  <a:lstStyle/>
                  <a:p>
                    <a:fld id="{6188E8A9-BD2C-44EA-8D99-8A5F5126CA1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3363-48D8-B751-EA6AD3438C92}"/>
                </c:ext>
              </c:extLst>
            </c:dLbl>
            <c:dLbl>
              <c:idx val="41"/>
              <c:tx>
                <c:rich>
                  <a:bodyPr/>
                  <a:lstStyle/>
                  <a:p>
                    <a:fld id="{EFF2F7A0-2952-4248-A2F2-3E7526175F0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3363-48D8-B751-EA6AD3438C92}"/>
                </c:ext>
              </c:extLst>
            </c:dLbl>
            <c:dLbl>
              <c:idx val="42"/>
              <c:tx>
                <c:rich>
                  <a:bodyPr/>
                  <a:lstStyle/>
                  <a:p>
                    <a:fld id="{8A098740-B469-419D-9DD0-EF3139283EC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3363-48D8-B751-EA6AD3438C92}"/>
                </c:ext>
              </c:extLst>
            </c:dLbl>
            <c:dLbl>
              <c:idx val="43"/>
              <c:tx>
                <c:rich>
                  <a:bodyPr/>
                  <a:lstStyle/>
                  <a:p>
                    <a:fld id="{CD80DC19-27ED-4895-A926-F8581F8664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3363-48D8-B751-EA6AD3438C92}"/>
                </c:ext>
              </c:extLst>
            </c:dLbl>
            <c:dLbl>
              <c:idx val="44"/>
              <c:tx>
                <c:rich>
                  <a:bodyPr/>
                  <a:lstStyle/>
                  <a:p>
                    <a:fld id="{1B7A90A3-D0C6-4C23-9EAD-128F49D65F7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3363-48D8-B751-EA6AD3438C92}"/>
                </c:ext>
              </c:extLst>
            </c:dLbl>
            <c:dLbl>
              <c:idx val="45"/>
              <c:tx>
                <c:rich>
                  <a:bodyPr/>
                  <a:lstStyle/>
                  <a:p>
                    <a:fld id="{F1DD6124-FFCE-47EC-B1F2-DD9F4566F44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3363-48D8-B751-EA6AD3438C92}"/>
                </c:ext>
              </c:extLst>
            </c:dLbl>
            <c:dLbl>
              <c:idx val="46"/>
              <c:tx>
                <c:rich>
                  <a:bodyPr/>
                  <a:lstStyle/>
                  <a:p>
                    <a:fld id="{96DB2F12-7C2A-4480-BE37-29058D45769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3363-48D8-B751-EA6AD3438C92}"/>
                </c:ext>
              </c:extLst>
            </c:dLbl>
            <c:dLbl>
              <c:idx val="47"/>
              <c:tx>
                <c:rich>
                  <a:bodyPr/>
                  <a:lstStyle/>
                  <a:p>
                    <a:fld id="{9DB80DC6-6061-4345-BF1D-52421302087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3363-48D8-B751-EA6AD3438C92}"/>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3363-48D8-B751-EA6AD3438C92}"/>
                </c:ext>
              </c:extLst>
            </c:dLbl>
            <c:dLbl>
              <c:idx val="4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3363-48D8-B751-EA6AD3438C92}"/>
                </c:ext>
              </c:extLst>
            </c:dLbl>
            <c:dLbl>
              <c:idx val="5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3363-48D8-B751-EA6AD3438C92}"/>
                </c:ext>
              </c:extLst>
            </c:dLbl>
            <c:dLbl>
              <c:idx val="5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3363-48D8-B751-EA6AD3438C92}"/>
                </c:ext>
              </c:extLst>
            </c:dLbl>
            <c:dLbl>
              <c:idx val="5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3363-48D8-B751-EA6AD3438C92}"/>
                </c:ext>
              </c:extLst>
            </c:dLbl>
            <c:dLbl>
              <c:idx val="5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3363-48D8-B751-EA6AD3438C92}"/>
                </c:ext>
              </c:extLst>
            </c:dLbl>
            <c:dLbl>
              <c:idx val="5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3363-48D8-B751-EA6AD3438C92}"/>
                </c:ext>
              </c:extLst>
            </c:dLbl>
            <c:dLbl>
              <c:idx val="5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3363-48D8-B751-EA6AD3438C92}"/>
                </c:ext>
              </c:extLst>
            </c:dLbl>
            <c:dLbl>
              <c:idx val="5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A-3363-48D8-B751-EA6AD3438C92}"/>
                </c:ext>
              </c:extLst>
            </c:dLbl>
            <c:dLbl>
              <c:idx val="5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B-3363-48D8-B751-EA6AD3438C92}"/>
                </c:ext>
              </c:extLst>
            </c:dLbl>
            <c:dLbl>
              <c:idx val="5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C-3363-48D8-B751-EA6AD3438C92}"/>
                </c:ext>
              </c:extLst>
            </c:dLbl>
            <c:dLbl>
              <c:idx val="5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D-3363-48D8-B751-EA6AD3438C92}"/>
                </c:ext>
              </c:extLst>
            </c:dLbl>
            <c:dLbl>
              <c:idx val="6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E-3363-48D8-B751-EA6AD3438C92}"/>
                </c:ext>
              </c:extLst>
            </c:dLbl>
            <c:dLbl>
              <c:idx val="6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F-3363-48D8-B751-EA6AD3438C92}"/>
                </c:ext>
              </c:extLst>
            </c:dLbl>
            <c:dLbl>
              <c:idx val="6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0-3363-48D8-B751-EA6AD3438C92}"/>
                </c:ext>
              </c:extLst>
            </c:dLbl>
            <c:dLbl>
              <c:idx val="6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1-3363-48D8-B751-EA6AD3438C92}"/>
                </c:ext>
              </c:extLst>
            </c:dLbl>
            <c:dLbl>
              <c:idx val="6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2-3363-48D8-B751-EA6AD3438C92}"/>
                </c:ext>
              </c:extLst>
            </c:dLbl>
            <c:dLbl>
              <c:idx val="6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3-3363-48D8-B751-EA6AD3438C92}"/>
                </c:ext>
              </c:extLst>
            </c:dLbl>
            <c:dLbl>
              <c:idx val="6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4-3363-48D8-B751-EA6AD3438C92}"/>
                </c:ext>
              </c:extLst>
            </c:dLbl>
            <c:dLbl>
              <c:idx val="6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5-3363-48D8-B751-EA6AD3438C92}"/>
                </c:ext>
              </c:extLst>
            </c:dLbl>
            <c:dLbl>
              <c:idx val="6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6-3363-48D8-B751-EA6AD3438C92}"/>
                </c:ext>
              </c:extLst>
            </c:dLbl>
            <c:dLbl>
              <c:idx val="6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7-3363-48D8-B751-EA6AD3438C92}"/>
                </c:ext>
              </c:extLst>
            </c:dLbl>
            <c:dLbl>
              <c:idx val="7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8-3363-48D8-B751-EA6AD3438C92}"/>
                </c:ext>
              </c:extLst>
            </c:dLbl>
            <c:dLbl>
              <c:idx val="7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9-3363-48D8-B751-EA6AD3438C92}"/>
                </c:ext>
              </c:extLst>
            </c:dLbl>
            <c:dLbl>
              <c:idx val="7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A-3363-48D8-B751-EA6AD3438C92}"/>
                </c:ext>
              </c:extLst>
            </c:dLbl>
            <c:dLbl>
              <c:idx val="7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B-3363-48D8-B751-EA6AD3438C92}"/>
                </c:ext>
              </c:extLst>
            </c:dLbl>
            <c:dLbl>
              <c:idx val="7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C-3363-48D8-B751-EA6AD3438C92}"/>
                </c:ext>
              </c:extLst>
            </c:dLbl>
            <c:dLbl>
              <c:idx val="7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D-3363-48D8-B751-EA6AD3438C92}"/>
                </c:ext>
              </c:extLst>
            </c:dLbl>
            <c:dLbl>
              <c:idx val="7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E-3363-48D8-B751-EA6AD3438C92}"/>
                </c:ext>
              </c:extLst>
            </c:dLbl>
            <c:dLbl>
              <c:idx val="7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F-3363-48D8-B751-EA6AD3438C92}"/>
                </c:ext>
              </c:extLst>
            </c:dLbl>
            <c:dLbl>
              <c:idx val="7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0-3363-48D8-B751-EA6AD3438C92}"/>
                </c:ext>
              </c:extLst>
            </c:dLbl>
            <c:dLbl>
              <c:idx val="7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1-3363-48D8-B751-EA6AD3438C92}"/>
                </c:ext>
              </c:extLst>
            </c:dLbl>
            <c:dLbl>
              <c:idx val="8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2-3363-48D8-B751-EA6AD3438C92}"/>
                </c:ext>
              </c:extLst>
            </c:dLbl>
            <c:dLbl>
              <c:idx val="8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3-3363-48D8-B751-EA6AD3438C92}"/>
                </c:ext>
              </c:extLst>
            </c:dLbl>
            <c:dLbl>
              <c:idx val="8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4-3363-48D8-B751-EA6AD3438C92}"/>
                </c:ext>
              </c:extLst>
            </c:dLbl>
            <c:dLbl>
              <c:idx val="8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5-3363-48D8-B751-EA6AD3438C92}"/>
                </c:ext>
              </c:extLst>
            </c:dLbl>
            <c:dLbl>
              <c:idx val="8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6-3363-48D8-B751-EA6AD3438C92}"/>
                </c:ext>
              </c:extLst>
            </c:dLbl>
            <c:dLbl>
              <c:idx val="8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7-3363-48D8-B751-EA6AD3438C92}"/>
                </c:ext>
              </c:extLst>
            </c:dLbl>
            <c:dLbl>
              <c:idx val="8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8-3363-48D8-B751-EA6AD3438C92}"/>
                </c:ext>
              </c:extLst>
            </c:dLbl>
            <c:dLbl>
              <c:idx val="8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9-3363-48D8-B751-EA6AD3438C92}"/>
                </c:ext>
              </c:extLst>
            </c:dLbl>
            <c:dLbl>
              <c:idx val="8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A-3363-48D8-B751-EA6AD3438C92}"/>
                </c:ext>
              </c:extLst>
            </c:dLbl>
            <c:dLbl>
              <c:idx val="8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B-3363-48D8-B751-EA6AD3438C92}"/>
                </c:ext>
              </c:extLst>
            </c:dLbl>
            <c:dLbl>
              <c:idx val="9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C-3363-48D8-B751-EA6AD3438C92}"/>
                </c:ext>
              </c:extLst>
            </c:dLbl>
            <c:dLbl>
              <c:idx val="9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D-3363-48D8-B751-EA6AD3438C92}"/>
                </c:ext>
              </c:extLst>
            </c:dLbl>
            <c:dLbl>
              <c:idx val="9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E-3363-48D8-B751-EA6AD3438C92}"/>
                </c:ext>
              </c:extLst>
            </c:dLbl>
            <c:dLbl>
              <c:idx val="9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F-3363-48D8-B751-EA6AD3438C92}"/>
                </c:ext>
              </c:extLst>
            </c:dLbl>
            <c:dLbl>
              <c:idx val="9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0-3363-48D8-B751-EA6AD3438C92}"/>
                </c:ext>
              </c:extLst>
            </c:dLbl>
            <c:dLbl>
              <c:idx val="9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1-3363-48D8-B751-EA6AD3438C92}"/>
                </c:ext>
              </c:extLst>
            </c:dLbl>
            <c:dLbl>
              <c:idx val="9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2-3363-48D8-B751-EA6AD3438C92}"/>
                </c:ext>
              </c:extLst>
            </c:dLbl>
            <c:dLbl>
              <c:idx val="9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3-3363-48D8-B751-EA6AD3438C92}"/>
                </c:ext>
              </c:extLst>
            </c:dLbl>
            <c:dLbl>
              <c:idx val="9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4-3363-48D8-B751-EA6AD3438C92}"/>
                </c:ext>
              </c:extLst>
            </c:dLbl>
            <c:dLbl>
              <c:idx val="9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5-3363-48D8-B751-EA6AD3438C92}"/>
                </c:ext>
              </c:extLst>
            </c:dLbl>
            <c:dLbl>
              <c:idx val="10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6-3363-48D8-B751-EA6AD3438C92}"/>
                </c:ext>
              </c:extLst>
            </c:dLbl>
            <c:dLbl>
              <c:idx val="10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7-3363-48D8-B751-EA6AD3438C92}"/>
                </c:ext>
              </c:extLst>
            </c:dLbl>
            <c:dLbl>
              <c:idx val="10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8-3363-48D8-B751-EA6AD3438C92}"/>
                </c:ext>
              </c:extLst>
            </c:dLbl>
            <c:dLbl>
              <c:idx val="10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9-3363-48D8-B751-EA6AD3438C92}"/>
                </c:ext>
              </c:extLst>
            </c:dLbl>
            <c:dLbl>
              <c:idx val="10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A-3363-48D8-B751-EA6AD3438C92}"/>
                </c:ext>
              </c:extLst>
            </c:dLbl>
            <c:dLbl>
              <c:idx val="10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B-3363-48D8-B751-EA6AD3438C92}"/>
                </c:ext>
              </c:extLst>
            </c:dLbl>
            <c:dLbl>
              <c:idx val="10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C-3363-48D8-B751-EA6AD3438C92}"/>
                </c:ext>
              </c:extLst>
            </c:dLbl>
            <c:dLbl>
              <c:idx val="10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D-3363-48D8-B751-EA6AD3438C92}"/>
                </c:ext>
              </c:extLst>
            </c:dLbl>
            <c:dLbl>
              <c:idx val="10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E-3363-48D8-B751-EA6AD3438C92}"/>
                </c:ext>
              </c:extLst>
            </c:dLbl>
            <c:dLbl>
              <c:idx val="10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F-3363-48D8-B751-EA6AD3438C92}"/>
                </c:ext>
              </c:extLst>
            </c:dLbl>
            <c:dLbl>
              <c:idx val="11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0-3363-48D8-B751-EA6AD3438C92}"/>
                </c:ext>
              </c:extLst>
            </c:dLbl>
            <c:dLbl>
              <c:idx val="11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1-3363-48D8-B751-EA6AD3438C92}"/>
                </c:ext>
              </c:extLst>
            </c:dLbl>
            <c:dLbl>
              <c:idx val="1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2-3363-48D8-B751-EA6AD3438C92}"/>
                </c:ext>
              </c:extLst>
            </c:dLbl>
            <c:dLbl>
              <c:idx val="1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3-3363-48D8-B751-EA6AD3438C92}"/>
                </c:ext>
              </c:extLst>
            </c:dLbl>
            <c:dLbl>
              <c:idx val="1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4-3363-48D8-B751-EA6AD3438C92}"/>
                </c:ext>
              </c:extLst>
            </c:dLbl>
            <c:dLbl>
              <c:idx val="1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5-3363-48D8-B751-EA6AD3438C92}"/>
                </c:ext>
              </c:extLst>
            </c:dLbl>
            <c:dLbl>
              <c:idx val="1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6-3363-48D8-B751-EA6AD3438C92}"/>
                </c:ext>
              </c:extLst>
            </c:dLbl>
            <c:dLbl>
              <c:idx val="1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7-3363-48D8-B751-EA6AD3438C92}"/>
                </c:ext>
              </c:extLst>
            </c:dLbl>
            <c:dLbl>
              <c:idx val="1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8-3363-48D8-B751-EA6AD3438C92}"/>
                </c:ext>
              </c:extLst>
            </c:dLbl>
            <c:dLbl>
              <c:idx val="1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9-3363-48D8-B751-EA6AD3438C92}"/>
                </c:ext>
              </c:extLst>
            </c:dLbl>
            <c:dLbl>
              <c:idx val="1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A-3363-48D8-B751-EA6AD3438C92}"/>
                </c:ext>
              </c:extLst>
            </c:dLbl>
            <c:dLbl>
              <c:idx val="1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B-3363-48D8-B751-EA6AD3438C92}"/>
                </c:ext>
              </c:extLst>
            </c:dLbl>
            <c:dLbl>
              <c:idx val="1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C-3363-48D8-B751-EA6AD3438C92}"/>
                </c:ext>
              </c:extLst>
            </c:dLbl>
            <c:dLbl>
              <c:idx val="1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D-3363-48D8-B751-EA6AD3438C92}"/>
                </c:ext>
              </c:extLst>
            </c:dLbl>
            <c:dLbl>
              <c:idx val="1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E-3363-48D8-B751-EA6AD3438C92}"/>
                </c:ext>
              </c:extLst>
            </c:dLbl>
            <c:dLbl>
              <c:idx val="1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F-3363-48D8-B751-EA6AD3438C92}"/>
                </c:ext>
              </c:extLst>
            </c:dLbl>
            <c:dLbl>
              <c:idx val="1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0-3363-48D8-B751-EA6AD3438C92}"/>
                </c:ext>
              </c:extLst>
            </c:dLbl>
            <c:dLbl>
              <c:idx val="1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1-3363-48D8-B751-EA6AD3438C92}"/>
                </c:ext>
              </c:extLst>
            </c:dLbl>
            <c:dLbl>
              <c:idx val="1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2-3363-48D8-B751-EA6AD3438C92}"/>
                </c:ext>
              </c:extLst>
            </c:dLbl>
            <c:dLbl>
              <c:idx val="1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3-3363-48D8-B751-EA6AD3438C92}"/>
                </c:ext>
              </c:extLst>
            </c:dLbl>
            <c:dLbl>
              <c:idx val="1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4-3363-48D8-B751-EA6AD3438C92}"/>
                </c:ext>
              </c:extLst>
            </c:dLbl>
            <c:dLbl>
              <c:idx val="1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5-3363-48D8-B751-EA6AD3438C92}"/>
                </c:ext>
              </c:extLst>
            </c:dLbl>
            <c:dLbl>
              <c:idx val="1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6-3363-48D8-B751-EA6AD3438C92}"/>
                </c:ext>
              </c:extLst>
            </c:dLbl>
            <c:dLbl>
              <c:idx val="1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7-3363-48D8-B751-EA6AD3438C92}"/>
                </c:ext>
              </c:extLst>
            </c:dLbl>
            <c:dLbl>
              <c:idx val="1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8-3363-48D8-B751-EA6AD3438C92}"/>
                </c:ext>
              </c:extLst>
            </c:dLbl>
            <c:dLbl>
              <c:idx val="1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9-3363-48D8-B751-EA6AD3438C92}"/>
                </c:ext>
              </c:extLst>
            </c:dLbl>
            <c:dLbl>
              <c:idx val="1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A-3363-48D8-B751-EA6AD3438C92}"/>
                </c:ext>
              </c:extLst>
            </c:dLbl>
            <c:dLbl>
              <c:idx val="1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B-3363-48D8-B751-EA6AD3438C92}"/>
                </c:ext>
              </c:extLst>
            </c:dLbl>
            <c:dLbl>
              <c:idx val="1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C-3363-48D8-B751-EA6AD3438C92}"/>
                </c:ext>
              </c:extLst>
            </c:dLbl>
            <c:dLbl>
              <c:idx val="1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D-3363-48D8-B751-EA6AD3438C92}"/>
                </c:ext>
              </c:extLst>
            </c:dLbl>
            <c:dLbl>
              <c:idx val="1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E-3363-48D8-B751-EA6AD3438C92}"/>
                </c:ext>
              </c:extLst>
            </c:dLbl>
            <c:dLbl>
              <c:idx val="1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F-3363-48D8-B751-EA6AD3438C92}"/>
                </c:ext>
              </c:extLst>
            </c:dLbl>
            <c:dLbl>
              <c:idx val="1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0-3363-48D8-B751-EA6AD3438C92}"/>
                </c:ext>
              </c:extLst>
            </c:dLbl>
            <c:dLbl>
              <c:idx val="1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1-3363-48D8-B751-EA6AD3438C92}"/>
                </c:ext>
              </c:extLst>
            </c:dLbl>
            <c:dLbl>
              <c:idx val="1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2-3363-48D8-B751-EA6AD3438C92}"/>
                </c:ext>
              </c:extLst>
            </c:dLbl>
            <c:dLbl>
              <c:idx val="1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3-3363-48D8-B751-EA6AD3438C92}"/>
                </c:ext>
              </c:extLst>
            </c:dLbl>
            <c:dLbl>
              <c:idx val="1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4-3363-48D8-B751-EA6AD3438C92}"/>
                </c:ext>
              </c:extLst>
            </c:dLbl>
            <c:dLbl>
              <c:idx val="1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5-3363-48D8-B751-EA6AD3438C92}"/>
                </c:ext>
              </c:extLst>
            </c:dLbl>
            <c:dLbl>
              <c:idx val="1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6-3363-48D8-B751-EA6AD3438C92}"/>
                </c:ext>
              </c:extLst>
            </c:dLbl>
            <c:dLbl>
              <c:idx val="14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7-3363-48D8-B751-EA6AD3438C92}"/>
                </c:ext>
              </c:extLst>
            </c:dLbl>
            <c:dLbl>
              <c:idx val="15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8-3363-48D8-B751-EA6AD3438C92}"/>
                </c:ext>
              </c:extLst>
            </c:dLbl>
            <c:dLbl>
              <c:idx val="15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9-3363-48D8-B751-EA6AD3438C92}"/>
                </c:ext>
              </c:extLst>
            </c:dLbl>
            <c:dLbl>
              <c:idx val="15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A-3363-48D8-B751-EA6AD3438C92}"/>
                </c:ext>
              </c:extLst>
            </c:dLbl>
            <c:dLbl>
              <c:idx val="15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B-3363-48D8-B751-EA6AD3438C92}"/>
                </c:ext>
              </c:extLst>
            </c:dLbl>
            <c:dLbl>
              <c:idx val="15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C-3363-48D8-B751-EA6AD3438C92}"/>
                </c:ext>
              </c:extLst>
            </c:dLbl>
            <c:dLbl>
              <c:idx val="15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D-3363-48D8-B751-EA6AD3438C92}"/>
                </c:ext>
              </c:extLst>
            </c:dLbl>
            <c:dLbl>
              <c:idx val="15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E-3363-48D8-B751-EA6AD3438C92}"/>
                </c:ext>
              </c:extLst>
            </c:dLbl>
            <c:dLbl>
              <c:idx val="15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F-3363-48D8-B751-EA6AD3438C92}"/>
                </c:ext>
              </c:extLst>
            </c:dLbl>
            <c:dLbl>
              <c:idx val="15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0-3363-48D8-B751-EA6AD3438C92}"/>
                </c:ext>
              </c:extLst>
            </c:dLbl>
            <c:dLbl>
              <c:idx val="15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1-3363-48D8-B751-EA6AD3438C92}"/>
                </c:ext>
              </c:extLst>
            </c:dLbl>
            <c:dLbl>
              <c:idx val="16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2-3363-48D8-B751-EA6AD3438C92}"/>
                </c:ext>
              </c:extLst>
            </c:dLbl>
            <c:dLbl>
              <c:idx val="16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3-3363-48D8-B751-EA6AD3438C92}"/>
                </c:ext>
              </c:extLst>
            </c:dLbl>
            <c:dLbl>
              <c:idx val="16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4-3363-48D8-B751-EA6AD3438C92}"/>
                </c:ext>
              </c:extLst>
            </c:dLbl>
            <c:dLbl>
              <c:idx val="16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5-3363-48D8-B751-EA6AD3438C92}"/>
                </c:ext>
              </c:extLst>
            </c:dLbl>
            <c:dLbl>
              <c:idx val="16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6-3363-48D8-B751-EA6AD3438C92}"/>
                </c:ext>
              </c:extLst>
            </c:dLbl>
            <c:dLbl>
              <c:idx val="16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7-3363-48D8-B751-EA6AD3438C92}"/>
                </c:ext>
              </c:extLst>
            </c:dLbl>
            <c:dLbl>
              <c:idx val="16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8-3363-48D8-B751-EA6AD3438C92}"/>
                </c:ext>
              </c:extLst>
            </c:dLbl>
            <c:dLbl>
              <c:idx val="16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9-3363-48D8-B751-EA6AD3438C92}"/>
                </c:ext>
              </c:extLst>
            </c:dLbl>
            <c:dLbl>
              <c:idx val="16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A-3363-48D8-B751-EA6AD3438C92}"/>
                </c:ext>
              </c:extLst>
            </c:dLbl>
            <c:dLbl>
              <c:idx val="16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B-3363-48D8-B751-EA6AD3438C92}"/>
                </c:ext>
              </c:extLst>
            </c:dLbl>
            <c:dLbl>
              <c:idx val="17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C-3363-48D8-B751-EA6AD3438C92}"/>
                </c:ext>
              </c:extLst>
            </c:dLbl>
            <c:dLbl>
              <c:idx val="17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D-3363-48D8-B751-EA6AD3438C92}"/>
                </c:ext>
              </c:extLst>
            </c:dLbl>
            <c:dLbl>
              <c:idx val="17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E-3363-48D8-B751-EA6AD3438C92}"/>
                </c:ext>
              </c:extLst>
            </c:dLbl>
            <c:dLbl>
              <c:idx val="17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F-3363-48D8-B751-EA6AD3438C92}"/>
                </c:ext>
              </c:extLst>
            </c:dLbl>
            <c:dLbl>
              <c:idx val="17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0-3363-48D8-B751-EA6AD3438C92}"/>
                </c:ext>
              </c:extLst>
            </c:dLbl>
            <c:dLbl>
              <c:idx val="17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1-3363-48D8-B751-EA6AD3438C92}"/>
                </c:ext>
              </c:extLst>
            </c:dLbl>
            <c:dLbl>
              <c:idx val="17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2-3363-48D8-B751-EA6AD3438C92}"/>
                </c:ext>
              </c:extLst>
            </c:dLbl>
            <c:dLbl>
              <c:idx val="17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3-3363-48D8-B751-EA6AD3438C92}"/>
                </c:ext>
              </c:extLst>
            </c:dLbl>
            <c:dLbl>
              <c:idx val="17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4-3363-48D8-B751-EA6AD3438C92}"/>
                </c:ext>
              </c:extLst>
            </c:dLbl>
            <c:dLbl>
              <c:idx val="17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5-3363-48D8-B751-EA6AD3438C92}"/>
                </c:ext>
              </c:extLst>
            </c:dLbl>
            <c:dLbl>
              <c:idx val="18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6-3363-48D8-B751-EA6AD3438C92}"/>
                </c:ext>
              </c:extLst>
            </c:dLbl>
            <c:dLbl>
              <c:idx val="18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7-3363-48D8-B751-EA6AD3438C92}"/>
                </c:ext>
              </c:extLst>
            </c:dLbl>
            <c:dLbl>
              <c:idx val="18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8-3363-48D8-B751-EA6AD3438C92}"/>
                </c:ext>
              </c:extLst>
            </c:dLbl>
            <c:dLbl>
              <c:idx val="18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9-3363-48D8-B751-EA6AD3438C92}"/>
                </c:ext>
              </c:extLst>
            </c:dLbl>
            <c:dLbl>
              <c:idx val="18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A-3363-48D8-B751-EA6AD3438C92}"/>
                </c:ext>
              </c:extLst>
            </c:dLbl>
            <c:dLbl>
              <c:idx val="18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B-3363-48D8-B751-EA6AD3438C92}"/>
                </c:ext>
              </c:extLst>
            </c:dLbl>
            <c:dLbl>
              <c:idx val="18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C-3363-48D8-B751-EA6AD3438C92}"/>
                </c:ext>
              </c:extLst>
            </c:dLbl>
            <c:dLbl>
              <c:idx val="18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D-3363-48D8-B751-EA6AD3438C92}"/>
                </c:ext>
              </c:extLst>
            </c:dLbl>
            <c:dLbl>
              <c:idx val="18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E-3363-48D8-B751-EA6AD3438C92}"/>
                </c:ext>
              </c:extLst>
            </c:dLbl>
            <c:dLbl>
              <c:idx val="18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F-3363-48D8-B751-EA6AD3438C92}"/>
                </c:ext>
              </c:extLst>
            </c:dLbl>
            <c:dLbl>
              <c:idx val="19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0-3363-48D8-B751-EA6AD3438C92}"/>
                </c:ext>
              </c:extLst>
            </c:dLbl>
            <c:dLbl>
              <c:idx val="19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93</c:f>
              <c:numCache>
                <c:formatCode>0%;\-0%;0%</c:formatCode>
                <c:ptCount val="192"/>
                <c:pt idx="0">
                  <c:v>1.5205511183945923</c:v>
                </c:pt>
                <c:pt idx="1">
                  <c:v>1.8242651617431078</c:v>
                </c:pt>
                <c:pt idx="2">
                  <c:v>1.9446931641299241</c:v>
                </c:pt>
                <c:pt idx="3">
                  <c:v>1.3743785971181046</c:v>
                </c:pt>
                <c:pt idx="4">
                  <c:v>1.2133568327506097</c:v>
                </c:pt>
                <c:pt idx="5">
                  <c:v>0.68122302644792165</c:v>
                </c:pt>
                <c:pt idx="6">
                  <c:v>1.0735788830195876</c:v>
                </c:pt>
                <c:pt idx="7">
                  <c:v>1.0906105466517351</c:v>
                </c:pt>
                <c:pt idx="8">
                  <c:v>1.2464638055208919</c:v>
                </c:pt>
                <c:pt idx="9">
                  <c:v>2.6276289831452044</c:v>
                </c:pt>
                <c:pt idx="10">
                  <c:v>1.1064322357610548</c:v>
                </c:pt>
                <c:pt idx="11">
                  <c:v>0.85319501532146991</c:v>
                </c:pt>
                <c:pt idx="12">
                  <c:v>0.7743464365328111</c:v>
                </c:pt>
                <c:pt idx="13">
                  <c:v>1.7014605140802144</c:v>
                </c:pt>
                <c:pt idx="14">
                  <c:v>1.4722455858567116</c:v>
                </c:pt>
                <c:pt idx="15">
                  <c:v>1.2982462605289533</c:v>
                </c:pt>
                <c:pt idx="16">
                  <c:v>1.3833514134065645</c:v>
                </c:pt>
                <c:pt idx="17">
                  <c:v>0.87671584289444737</c:v>
                </c:pt>
                <c:pt idx="18">
                  <c:v>1.1442919103466598</c:v>
                </c:pt>
                <c:pt idx="19">
                  <c:v>0.79278754093426607</c:v>
                </c:pt>
                <c:pt idx="20">
                  <c:v>1.6966959176020961</c:v>
                </c:pt>
                <c:pt idx="21">
                  <c:v>1.231432894928175</c:v>
                </c:pt>
                <c:pt idx="22">
                  <c:v>1.4886670138358096</c:v>
                </c:pt>
                <c:pt idx="23">
                  <c:v>1.6014416623709915</c:v>
                </c:pt>
                <c:pt idx="24">
                  <c:v>2.0187991019872009</c:v>
                </c:pt>
                <c:pt idx="25">
                  <c:v>1.8173400102591124</c:v>
                </c:pt>
                <c:pt idx="26">
                  <c:v>2.3074631452968113</c:v>
                </c:pt>
                <c:pt idx="27">
                  <c:v>1.4051910373355561</c:v>
                </c:pt>
                <c:pt idx="28">
                  <c:v>3.2238078809443409</c:v>
                </c:pt>
                <c:pt idx="29">
                  <c:v>0.78758341953843303</c:v>
                </c:pt>
                <c:pt idx="30">
                  <c:v>0.62550976209801934</c:v>
                </c:pt>
                <c:pt idx="31">
                  <c:v>1.7096874502164956</c:v>
                </c:pt>
                <c:pt idx="32">
                  <c:v>1</c:v>
                </c:pt>
                <c:pt idx="33">
                  <c:v>2.3040084400169341</c:v>
                </c:pt>
                <c:pt idx="34">
                  <c:v>0.68754051217467449</c:v>
                </c:pt>
                <c:pt idx="35">
                  <c:v>2.6452578918511045</c:v>
                </c:pt>
                <c:pt idx="36">
                  <c:v>0.52526659449291513</c:v>
                </c:pt>
                <c:pt idx="37">
                  <c:v>0.65993703164042705</c:v>
                </c:pt>
                <c:pt idx="38">
                  <c:v>0.50485076417579766</c:v>
                </c:pt>
                <c:pt idx="39">
                  <c:v>1</c:v>
                </c:pt>
                <c:pt idx="40">
                  <c:v>1.0027843737478033</c:v>
                </c:pt>
                <c:pt idx="41">
                  <c:v>1.6500602169225536</c:v>
                </c:pt>
                <c:pt idx="42">
                  <c:v>0.98129234530269194</c:v>
                </c:pt>
                <c:pt idx="43">
                  <c:v>1.1139156627145779</c:v>
                </c:pt>
                <c:pt idx="44">
                  <c:v>1.211772687997315</c:v>
                </c:pt>
                <c:pt idx="45">
                  <c:v>0.8728761061157565</c:v>
                </c:pt>
                <c:pt idx="46">
                  <c:v>0.69652258972513958</c:v>
                </c:pt>
                <c:pt idx="47">
                  <c:v>0.66347532612180282</c:v>
                </c:pt>
                <c:pt idx="48">
                  <c:v>1.0499788078097323</c:v>
                </c:pt>
                <c:pt idx="49">
                  <c:v>0.44820220564430002</c:v>
                </c:pt>
              </c:numCache>
            </c:numRef>
          </c:xVal>
          <c:yVal>
            <c:numRef>
              <c:f>Sheet1!$B$2:$B$193</c:f>
              <c:numCache>
                <c:formatCode>0%;\-0%;0%</c:formatCode>
                <c:ptCount val="192"/>
                <c:pt idx="0">
                  <c:v>3.0852903728151539</c:v>
                </c:pt>
                <c:pt idx="1">
                  <c:v>3.3319547573296573</c:v>
                </c:pt>
                <c:pt idx="2">
                  <c:v>3.4403458842562884</c:v>
                </c:pt>
                <c:pt idx="3">
                  <c:v>1.5287924854883865</c:v>
                </c:pt>
                <c:pt idx="4">
                  <c:v>1.0281931200653487</c:v>
                </c:pt>
                <c:pt idx="5">
                  <c:v>0.80216040420533041</c:v>
                </c:pt>
                <c:pt idx="6">
                  <c:v>1.0004182203335177</c:v>
                </c:pt>
                <c:pt idx="7">
                  <c:v>0.42735580118324085</c:v>
                </c:pt>
                <c:pt idx="8">
                  <c:v>0.85158534101607519</c:v>
                </c:pt>
                <c:pt idx="9">
                  <c:v>0.98590635708915209</c:v>
                </c:pt>
                <c:pt idx="10">
                  <c:v>0.56316464505129971</c:v>
                </c:pt>
                <c:pt idx="11">
                  <c:v>0.59547063172185266</c:v>
                </c:pt>
                <c:pt idx="12">
                  <c:v>0.5666869203661371</c:v>
                </c:pt>
                <c:pt idx="13">
                  <c:v>0.50080532012183276</c:v>
                </c:pt>
                <c:pt idx="14">
                  <c:v>0.64882474401897816</c:v>
                </c:pt>
                <c:pt idx="15">
                  <c:v>0.62737513851065263</c:v>
                </c:pt>
                <c:pt idx="16">
                  <c:v>0.64468847464704893</c:v>
                </c:pt>
                <c:pt idx="17">
                  <c:v>0.54959610943104897</c:v>
                </c:pt>
                <c:pt idx="18">
                  <c:v>0.26642288750889204</c:v>
                </c:pt>
                <c:pt idx="19">
                  <c:v>9.8232312167382554E-2</c:v>
                </c:pt>
                <c:pt idx="20">
                  <c:v>0.58825737819616963</c:v>
                </c:pt>
                <c:pt idx="21">
                  <c:v>0.30530457107260101</c:v>
                </c:pt>
                <c:pt idx="22">
                  <c:v>0.29903245850592219</c:v>
                </c:pt>
                <c:pt idx="23">
                  <c:v>0.50269799152392924</c:v>
                </c:pt>
                <c:pt idx="24">
                  <c:v>0.27852463526594817</c:v>
                </c:pt>
                <c:pt idx="25">
                  <c:v>0.91021387605544057</c:v>
                </c:pt>
                <c:pt idx="26">
                  <c:v>0.44946294600052783</c:v>
                </c:pt>
                <c:pt idx="27">
                  <c:v>0.23963358203836602</c:v>
                </c:pt>
                <c:pt idx="28">
                  <c:v>0.32805851065036734</c:v>
                </c:pt>
                <c:pt idx="29">
                  <c:v>0.16125522710408016</c:v>
                </c:pt>
                <c:pt idx="30">
                  <c:v>0.2712074289350726</c:v>
                </c:pt>
                <c:pt idx="31">
                  <c:v>0.30457712372256124</c:v>
                </c:pt>
                <c:pt idx="32">
                  <c:v>0.8957411183421421</c:v>
                </c:pt>
                <c:pt idx="33">
                  <c:v>0.73658558525695261</c:v>
                </c:pt>
                <c:pt idx="34">
                  <c:v>0.28331041236079657</c:v>
                </c:pt>
                <c:pt idx="35">
                  <c:v>0.29822959771310809</c:v>
                </c:pt>
                <c:pt idx="36">
                  <c:v>0.30112180993370002</c:v>
                </c:pt>
                <c:pt idx="37">
                  <c:v>0.16279631085592983</c:v>
                </c:pt>
                <c:pt idx="38">
                  <c:v>0.18164490301460515</c:v>
                </c:pt>
                <c:pt idx="39">
                  <c:v>1.1598967694917872</c:v>
                </c:pt>
                <c:pt idx="40">
                  <c:v>0.42800851475208684</c:v>
                </c:pt>
                <c:pt idx="41">
                  <c:v>0.384857602622315</c:v>
                </c:pt>
                <c:pt idx="42">
                  <c:v>0.15585437107477212</c:v>
                </c:pt>
                <c:pt idx="43">
                  <c:v>0.34535029295477387</c:v>
                </c:pt>
                <c:pt idx="44">
                  <c:v>0.10687510530248268</c:v>
                </c:pt>
                <c:pt idx="45">
                  <c:v>0.18731455224010704</c:v>
                </c:pt>
                <c:pt idx="46">
                  <c:v>0.14349766624950283</c:v>
                </c:pt>
                <c:pt idx="47">
                  <c:v>0.18016866701039758</c:v>
                </c:pt>
                <c:pt idx="48">
                  <c:v>0.30253809162884954</c:v>
                </c:pt>
                <c:pt idx="49">
                  <c:v>0.14733777182516844</c:v>
                </c:pt>
              </c:numCache>
            </c:numRef>
          </c:yVal>
          <c:bubbleSize>
            <c:numRef>
              <c:f>Sheet1!$C$2:$C$193</c:f>
              <c:numCache>
                <c:formatCode>#,##0</c:formatCode>
                <c:ptCount val="192"/>
                <c:pt idx="0">
                  <c:v>54118301</c:v>
                </c:pt>
                <c:pt idx="1">
                  <c:v>32935073</c:v>
                </c:pt>
                <c:pt idx="2">
                  <c:v>24165302</c:v>
                </c:pt>
                <c:pt idx="3">
                  <c:v>12921557</c:v>
                </c:pt>
                <c:pt idx="4">
                  <c:v>2213063</c:v>
                </c:pt>
                <c:pt idx="5">
                  <c:v>4003471</c:v>
                </c:pt>
                <c:pt idx="6">
                  <c:v>1746436</c:v>
                </c:pt>
                <c:pt idx="7">
                  <c:v>1611725</c:v>
                </c:pt>
                <c:pt idx="8">
                  <c:v>936992</c:v>
                </c:pt>
                <c:pt idx="9">
                  <c:v>1213432</c:v>
                </c:pt>
                <c:pt idx="10">
                  <c:v>1106331</c:v>
                </c:pt>
                <c:pt idx="11">
                  <c:v>1156061</c:v>
                </c:pt>
                <c:pt idx="12">
                  <c:v>1776521</c:v>
                </c:pt>
                <c:pt idx="13">
                  <c:v>555825</c:v>
                </c:pt>
                <c:pt idx="14">
                  <c:v>441536</c:v>
                </c:pt>
                <c:pt idx="15">
                  <c:v>528501</c:v>
                </c:pt>
                <c:pt idx="16">
                  <c:v>432075</c:v>
                </c:pt>
                <c:pt idx="17">
                  <c:v>435435</c:v>
                </c:pt>
                <c:pt idx="18">
                  <c:v>433735</c:v>
                </c:pt>
                <c:pt idx="19">
                  <c:v>1448636</c:v>
                </c:pt>
                <c:pt idx="20">
                  <c:v>327005</c:v>
                </c:pt>
                <c:pt idx="21">
                  <c:v>384930</c:v>
                </c:pt>
                <c:pt idx="22">
                  <c:v>393461</c:v>
                </c:pt>
                <c:pt idx="23">
                  <c:v>148308</c:v>
                </c:pt>
                <c:pt idx="24">
                  <c:v>256628</c:v>
                </c:pt>
                <c:pt idx="25">
                  <c:v>152820</c:v>
                </c:pt>
                <c:pt idx="26">
                  <c:v>187258</c:v>
                </c:pt>
                <c:pt idx="27">
                  <c:v>272760</c:v>
                </c:pt>
                <c:pt idx="28">
                  <c:v>225000</c:v>
                </c:pt>
                <c:pt idx="29">
                  <c:v>230746</c:v>
                </c:pt>
                <c:pt idx="30">
                  <c:v>180456</c:v>
                </c:pt>
                <c:pt idx="31">
                  <c:v>116036</c:v>
                </c:pt>
                <c:pt idx="32">
                  <c:v>25925</c:v>
                </c:pt>
                <c:pt idx="33">
                  <c:v>98858</c:v>
                </c:pt>
                <c:pt idx="34">
                  <c:v>195885</c:v>
                </c:pt>
                <c:pt idx="35">
                  <c:v>98518</c:v>
                </c:pt>
                <c:pt idx="36">
                  <c:v>117104</c:v>
                </c:pt>
                <c:pt idx="37">
                  <c:v>235127</c:v>
                </c:pt>
                <c:pt idx="38">
                  <c:v>123978</c:v>
                </c:pt>
                <c:pt idx="39">
                  <c:v>15126</c:v>
                </c:pt>
                <c:pt idx="40">
                  <c:v>63236</c:v>
                </c:pt>
                <c:pt idx="41">
                  <c:v>50563</c:v>
                </c:pt>
                <c:pt idx="42">
                  <c:v>87509</c:v>
                </c:pt>
                <c:pt idx="43">
                  <c:v>41835</c:v>
                </c:pt>
                <c:pt idx="44">
                  <c:v>43864</c:v>
                </c:pt>
                <c:pt idx="45">
                  <c:v>146671</c:v>
                </c:pt>
                <c:pt idx="46">
                  <c:v>149196</c:v>
                </c:pt>
                <c:pt idx="47">
                  <c:v>44755</c:v>
                </c:pt>
                <c:pt idx="48">
                  <c:v>34853</c:v>
                </c:pt>
                <c:pt idx="49">
                  <c:v>33557</c:v>
                </c:pt>
              </c:numCache>
            </c:numRef>
          </c:bubbleSize>
          <c:bubble3D val="0"/>
          <c:extLst>
            <c:ext xmlns:c15="http://schemas.microsoft.com/office/drawing/2012/chart" uri="{02D57815-91ED-43cb-92C2-25804820EDAC}">
              <c15:datalabelsRange>
                <c15:f>Sheet1!$E$2:$E$49</c15:f>
                <c15:dlblRangeCache>
                  <c:ptCount val="48"/>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 val="autoZero"/>
        <c:crossBetween val="midCat"/>
      </c:valAx>
      <c:valAx>
        <c:axId val="1011451359"/>
        <c:scaling>
          <c:orientation val="minMax"/>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053849719672747E-4"/>
          <c:y val="6.0063696518519595E-2"/>
          <c:w val="0.95453953634144284"/>
          <c:h val="0.88878250476834464"/>
        </c:manualLayout>
      </c:layout>
      <c:barChart>
        <c:barDir val="col"/>
        <c:grouping val="percentStacked"/>
        <c:varyColors val="0"/>
        <c:ser>
          <c:idx val="1"/>
          <c:order val="1"/>
          <c:tx>
            <c:strRef>
              <c:f>Sheet1!$C$1</c:f>
              <c:strCache>
                <c:ptCount val="1"/>
                <c:pt idx="0">
                  <c:v>bar</c:v>
                </c:pt>
              </c:strCache>
            </c:strRef>
          </c:tx>
          <c:spPr>
            <a:solidFill>
              <a:schemeClr val="bg2"/>
            </a:solidFill>
            <a:ln>
              <a:noFill/>
            </a:ln>
            <a:effectLst/>
          </c:spPr>
          <c:invertIfNegative val="0"/>
          <c:dLbls>
            <c:dLbl>
              <c:idx val="0"/>
              <c:tx>
                <c:rich>
                  <a:bodyPr/>
                  <a:lstStyle/>
                  <a:p>
                    <a:fld id="{5687A7B4-D7EE-4099-94B9-38FD47962AEB}" type="CELLRANGE">
                      <a:rPr lang="en-US"/>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6F3F-4891-A588-66FCA4279EF0}"/>
                </c:ext>
              </c:extLst>
            </c:dLbl>
            <c:dLbl>
              <c:idx val="1"/>
              <c:tx>
                <c:rich>
                  <a:bodyPr/>
                  <a:lstStyle/>
                  <a:p>
                    <a:fld id="{A2D59A40-F473-4A77-970A-2089CCFBE683}" type="CELLRANGE">
                      <a:rPr lang="en-US"/>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6F3F-4891-A588-66FCA4279EF0}"/>
                </c:ext>
              </c:extLst>
            </c:dLbl>
            <c:dLbl>
              <c:idx val="2"/>
              <c:delete val="1"/>
              <c:extLst>
                <c:ext xmlns:c15="http://schemas.microsoft.com/office/drawing/2012/chart" uri="{CE6537A1-D6FC-4f65-9D91-7224C49458BB}"/>
                <c:ext xmlns:c16="http://schemas.microsoft.com/office/drawing/2014/chart" uri="{C3380CC4-5D6E-409C-BE32-E72D297353CC}">
                  <c16:uniqueId val="{00000002-6F3F-4891-A588-66FCA4279EF0}"/>
                </c:ext>
              </c:extLst>
            </c:dLbl>
            <c:dLbl>
              <c:idx val="3"/>
              <c:tx>
                <c:rich>
                  <a:bodyPr/>
                  <a:lstStyle/>
                  <a:p>
                    <a:fld id="{719FBD2B-728C-4441-8571-15220D409A59}" type="CELLRANGE">
                      <a:rPr lang="en-US"/>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6F3F-4891-A588-66FCA4279EF0}"/>
                </c:ext>
              </c:extLst>
            </c:dLbl>
            <c:dLbl>
              <c:idx val="4"/>
              <c:tx>
                <c:rich>
                  <a:bodyPr/>
                  <a:lstStyle/>
                  <a:p>
                    <a:fld id="{0C8D38AE-71B9-428A-A7CE-6660F93A4FDA}" type="CELLRANGE">
                      <a:rPr lang="en-US"/>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6F3F-4891-A588-66FCA4279EF0}"/>
                </c:ext>
              </c:extLst>
            </c:dLbl>
            <c:dLbl>
              <c:idx val="5"/>
              <c:tx>
                <c:rich>
                  <a:bodyPr/>
                  <a:lstStyle/>
                  <a:p>
                    <a:fld id="{44B70F89-0EE7-4DC5-A7DB-5E73A7C37526}" type="CELLRANGE">
                      <a:rPr lang="en-US"/>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6F3F-4891-A588-66FCA4279EF0}"/>
                </c:ext>
              </c:extLst>
            </c:dLbl>
            <c:dLbl>
              <c:idx val="6"/>
              <c:tx>
                <c:rich>
                  <a:bodyPr/>
                  <a:lstStyle/>
                  <a:p>
                    <a:fld id="{25D5150F-8680-452E-8BE6-90A2734664CC}" type="CELLRANGE">
                      <a:rPr lang="en-US"/>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6F3F-4891-A588-66FCA4279EF0}"/>
                </c:ext>
              </c:extLst>
            </c:dLbl>
            <c:dLbl>
              <c:idx val="7"/>
              <c:tx>
                <c:rich>
                  <a:bodyPr/>
                  <a:lstStyle/>
                  <a:p>
                    <a:fld id="{D1F7C3D8-CA88-4387-BF66-8D6BEFBCE067}" type="CELLRANGE">
                      <a:rPr lang="en-US"/>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6F3F-4891-A588-66FCA4279EF0}"/>
                </c:ext>
              </c:extLst>
            </c:dLbl>
            <c:dLbl>
              <c:idx val="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8-6F3F-4891-A588-66FCA4279EF0}"/>
                </c:ext>
              </c:extLst>
            </c:dLbl>
            <c:dLbl>
              <c:idx val="9"/>
              <c:tx>
                <c:rich>
                  <a:bodyPr/>
                  <a:lstStyle/>
                  <a:p>
                    <a:fld id="{1845B9FF-9A4D-402C-B332-B94C54F667BF}" type="CELLRANGE">
                      <a:rPr lang="en-US"/>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6F3F-4891-A588-66FCA4279EF0}"/>
                </c:ext>
              </c:extLst>
            </c:dLbl>
            <c:dLbl>
              <c:idx val="1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6F3F-4891-A588-66FCA4279EF0}"/>
                </c:ext>
              </c:extLst>
            </c:dLbl>
            <c:dLbl>
              <c:idx val="1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6F3F-4891-A588-66FCA4279EF0}"/>
                </c:ext>
              </c:extLst>
            </c:dLbl>
            <c:dLbl>
              <c:idx val="12"/>
              <c:tx>
                <c:rich>
                  <a:bodyPr/>
                  <a:lstStyle/>
                  <a:p>
                    <a:fld id="{C8B5EEDC-8604-498A-AF87-6E124E99C3E6}" type="CELLRANGE">
                      <a:rPr lang="en-US"/>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6F3F-4891-A588-66FCA4279EF0}"/>
                </c:ext>
              </c:extLst>
            </c:dLbl>
            <c:dLbl>
              <c:idx val="13"/>
              <c:tx>
                <c:rich>
                  <a:bodyPr/>
                  <a:lstStyle/>
                  <a:p>
                    <a:fld id="{D61AD10C-1DA0-475F-A3E1-A6ECB669514D}" type="CELLRANGE">
                      <a:rPr lang="en-US"/>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6F3F-4891-A588-66FCA4279EF0}"/>
                </c:ext>
              </c:extLst>
            </c:dLbl>
            <c:dLbl>
              <c:idx val="1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E-6F3F-4891-A588-66FCA4279EF0}"/>
                </c:ext>
              </c:extLst>
            </c:dLbl>
            <c:dLbl>
              <c:idx val="15"/>
              <c:tx>
                <c:rich>
                  <a:bodyPr/>
                  <a:lstStyle/>
                  <a:p>
                    <a:fld id="{5FCB9C08-EDC3-467D-AEDE-43211037D437}" type="CELLRANGE">
                      <a:rPr lang="en-US"/>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6F3F-4891-A588-66FCA4279EF0}"/>
                </c:ext>
              </c:extLst>
            </c:dLbl>
            <c:dLbl>
              <c:idx val="16"/>
              <c:tx>
                <c:rich>
                  <a:bodyPr/>
                  <a:lstStyle/>
                  <a:p>
                    <a:fld id="{83093257-7DBE-4AAE-B035-A97EBDE4342C}" type="CELLRANGE">
                      <a:rPr lang="en-US"/>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6F3F-4891-A588-66FCA4279EF0}"/>
                </c:ext>
              </c:extLst>
            </c:dLbl>
            <c:dLbl>
              <c:idx val="1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6F3F-4891-A588-66FCA4279EF0}"/>
                </c:ext>
              </c:extLst>
            </c:dLbl>
            <c:dLbl>
              <c:idx val="18"/>
              <c:tx>
                <c:rich>
                  <a:bodyPr/>
                  <a:lstStyle/>
                  <a:p>
                    <a:fld id="{205D8B3F-C83B-485D-B328-33EA6CC27911}" type="CELLRANGE">
                      <a:rPr lang="en-US"/>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6F3F-4891-A588-66FCA4279EF0}"/>
                </c:ext>
              </c:extLst>
            </c:dLbl>
            <c:dLbl>
              <c:idx val="19"/>
              <c:tx>
                <c:rich>
                  <a:bodyPr/>
                  <a:lstStyle/>
                  <a:p>
                    <a:fld id="{9D3E86D2-8D87-4B20-9BBE-0B32D0EB64FE}" type="CELLRANGE">
                      <a:rPr lang="en-US"/>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6F3F-4891-A588-66FCA4279EF0}"/>
                </c:ext>
              </c:extLst>
            </c:dLbl>
            <c:dLbl>
              <c:idx val="20"/>
              <c:tx>
                <c:rich>
                  <a:bodyPr/>
                  <a:lstStyle/>
                  <a:p>
                    <a:fld id="{5A7203F5-3153-4490-9572-8CEBF1AF6DB5}" type="CELLRANGE">
                      <a:rPr lang="en-US"/>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6F3F-4891-A588-66FCA4279EF0}"/>
                </c:ext>
              </c:extLst>
            </c:dLbl>
            <c:dLbl>
              <c:idx val="21"/>
              <c:tx>
                <c:rich>
                  <a:bodyPr/>
                  <a:lstStyle/>
                  <a:p>
                    <a:fld id="{9E036D4E-AA32-4EB8-8015-2791D28EF0C9}" type="CELLRANGE">
                      <a:rPr lang="en-US"/>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6F3F-4891-A588-66FCA4279EF0}"/>
                </c:ext>
              </c:extLst>
            </c:dLbl>
            <c:dLbl>
              <c:idx val="22"/>
              <c:tx>
                <c:rich>
                  <a:bodyPr/>
                  <a:lstStyle/>
                  <a:p>
                    <a:fld id="{59C295E6-CE98-4175-8CF8-D083D2D0DA7C}" type="CELLRANGE">
                      <a:rPr lang="en-US"/>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6F3F-4891-A588-66FCA4279EF0}"/>
                </c:ext>
              </c:extLst>
            </c:dLbl>
            <c:dLbl>
              <c:idx val="23"/>
              <c:tx>
                <c:rich>
                  <a:bodyPr/>
                  <a:lstStyle/>
                  <a:p>
                    <a:fld id="{A01D1426-253C-49FA-A867-39428216210C}" type="CELLRANGE">
                      <a:rPr lang="en-US"/>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6F3F-4891-A588-66FCA4279EF0}"/>
                </c:ext>
              </c:extLst>
            </c:dLbl>
            <c:dLbl>
              <c:idx val="2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6F3F-4891-A588-66FCA4279EF0}"/>
                </c:ext>
              </c:extLst>
            </c:dLbl>
            <c:dLbl>
              <c:idx val="25"/>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6F3F-4891-A588-66FCA4279EF0}"/>
                </c:ext>
              </c:extLst>
            </c:dLbl>
            <c:dLbl>
              <c:idx val="26"/>
              <c:tx>
                <c:rich>
                  <a:bodyPr/>
                  <a:lstStyle/>
                  <a:p>
                    <a:fld id="{EEA0C8D2-2524-4289-A829-D486A7A0B50D}" type="CELLRANGE">
                      <a:rPr lang="en-US"/>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6F3F-4891-A588-66FCA4279EF0}"/>
                </c:ext>
              </c:extLst>
            </c:dLbl>
            <c:dLbl>
              <c:idx val="2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B-6F3F-4891-A588-66FCA4279EF0}"/>
                </c:ext>
              </c:extLst>
            </c:dLbl>
            <c:dLbl>
              <c:idx val="2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C-6F3F-4891-A588-66FCA4279EF0}"/>
                </c:ext>
              </c:extLst>
            </c:dLbl>
            <c:dLbl>
              <c:idx val="29"/>
              <c:tx>
                <c:rich>
                  <a:bodyPr/>
                  <a:lstStyle/>
                  <a:p>
                    <a:fld id="{C98D47AD-C4B1-4940-8592-2CECC48F0DD6}" type="CELLRANGE">
                      <a:rPr lang="en-US"/>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6F3F-4891-A588-66FCA4279EF0}"/>
                </c:ext>
              </c:extLst>
            </c:dLbl>
            <c:dLbl>
              <c:idx val="30"/>
              <c:tx>
                <c:rich>
                  <a:bodyPr/>
                  <a:lstStyle/>
                  <a:p>
                    <a:fld id="{E3369B8A-D106-4AFC-B452-645B000C20D9}" type="CELLRANGE">
                      <a:rPr lang="en-US"/>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6F3F-4891-A588-66FCA4279EF0}"/>
                </c:ext>
              </c:extLst>
            </c:dLbl>
            <c:dLbl>
              <c:idx val="3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F-6F3F-4891-A588-66FCA4279EF0}"/>
                </c:ext>
              </c:extLst>
            </c:dLbl>
            <c:dLbl>
              <c:idx val="3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0-6F3F-4891-A588-66FCA4279EF0}"/>
                </c:ext>
              </c:extLst>
            </c:dLbl>
            <c:dLbl>
              <c:idx val="33"/>
              <c:tx>
                <c:rich>
                  <a:bodyPr/>
                  <a:lstStyle/>
                  <a:p>
                    <a:fld id="{1E93429A-9424-4F8E-AE78-CB0FB978ADA1}" type="CELLRANGE">
                      <a:rPr lang="en-US"/>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6F3F-4891-A588-66FCA4279EF0}"/>
                </c:ext>
              </c:extLst>
            </c:dLbl>
            <c:dLbl>
              <c:idx val="34"/>
              <c:tx>
                <c:rich>
                  <a:bodyPr/>
                  <a:lstStyle/>
                  <a:p>
                    <a:fld id="{635E9B43-D278-45C7-A70D-4960FC04277F}" type="CELLRANGE">
                      <a:rPr lang="en-US"/>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6F3F-4891-A588-66FCA4279EF0}"/>
                </c:ext>
              </c:extLst>
            </c:dLbl>
            <c:dLbl>
              <c:idx val="35"/>
              <c:tx>
                <c:rich>
                  <a:bodyPr/>
                  <a:lstStyle/>
                  <a:p>
                    <a:fld id="{192E9D27-C8B5-44CD-8D65-95E54CDF7A19}" type="CELLRANGE">
                      <a:rPr lang="en-US"/>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6F3F-4891-A588-66FCA4279EF0}"/>
                </c:ext>
              </c:extLst>
            </c:dLbl>
            <c:dLbl>
              <c:idx val="36"/>
              <c:tx>
                <c:rich>
                  <a:bodyPr/>
                  <a:lstStyle/>
                  <a:p>
                    <a:fld id="{43151C58-EC12-474B-8A08-5C8310DEC83C}" type="CELLRANGE">
                      <a:rPr lang="en-US"/>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6F3F-4891-A588-66FCA4279EF0}"/>
                </c:ext>
              </c:extLst>
            </c:dLbl>
            <c:dLbl>
              <c:idx val="3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5-6F3F-4891-A588-66FCA4279EF0}"/>
                </c:ext>
              </c:extLst>
            </c:dLbl>
            <c:dLbl>
              <c:idx val="38"/>
              <c:tx>
                <c:rich>
                  <a:bodyPr/>
                  <a:lstStyle/>
                  <a:p>
                    <a:fld id="{3F047A9C-D9D9-4A65-93C7-136ED084BB65}" type="CELLRANGE">
                      <a:rPr lang="en-US"/>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6F3F-4891-A588-66FCA4279EF0}"/>
                </c:ext>
              </c:extLst>
            </c:dLbl>
            <c:dLbl>
              <c:idx val="39"/>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7-6F3F-4891-A588-66FCA4279EF0}"/>
                </c:ext>
              </c:extLst>
            </c:dLbl>
            <c:dLbl>
              <c:idx val="40"/>
              <c:tx>
                <c:rich>
                  <a:bodyPr/>
                  <a:lstStyle/>
                  <a:p>
                    <a:fld id="{435C5ED3-64CA-4559-9FA7-A3B0AF16E823}" type="CELLRANGE">
                      <a:rPr lang="en-US"/>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6F3F-4891-A588-66FCA4279EF0}"/>
                </c:ext>
              </c:extLst>
            </c:dLbl>
            <c:dLbl>
              <c:idx val="41"/>
              <c:tx>
                <c:rich>
                  <a:bodyPr/>
                  <a:lstStyle/>
                  <a:p>
                    <a:fld id="{CAF0FF1E-AA76-4BB1-A5A7-122FB695D1CE}" type="CELLRANGE">
                      <a:rPr lang="en-US"/>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6F3F-4891-A588-66FCA4279EF0}"/>
                </c:ext>
              </c:extLst>
            </c:dLbl>
            <c:dLbl>
              <c:idx val="4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6F3F-4891-A588-66FCA4279EF0}"/>
                </c:ext>
              </c:extLst>
            </c:dLbl>
            <c:dLbl>
              <c:idx val="43"/>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B-6F3F-4891-A588-66FCA4279EF0}"/>
                </c:ext>
              </c:extLst>
            </c:dLbl>
            <c:dLbl>
              <c:idx val="44"/>
              <c:tx>
                <c:rich>
                  <a:bodyPr/>
                  <a:lstStyle/>
                  <a:p>
                    <a:fld id="{E6EB6094-68D4-4746-9FED-FF5315FF994D}" type="CELLRANGE">
                      <a:rPr lang="en-US"/>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6F3F-4891-A588-66FCA4279EF0}"/>
                </c:ext>
              </c:extLst>
            </c:dLbl>
            <c:dLbl>
              <c:idx val="45"/>
              <c:tx>
                <c:rich>
                  <a:bodyPr/>
                  <a:lstStyle/>
                  <a:p>
                    <a:fld id="{A89258DE-9074-4314-9C17-AACE8064832E}" type="CELLRANGE">
                      <a:rPr lang="en-CH"/>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6F3F-4891-A588-66FCA4279EF0}"/>
                </c:ext>
              </c:extLst>
            </c:dLbl>
            <c:dLbl>
              <c:idx val="46"/>
              <c:tx>
                <c:rich>
                  <a:bodyPr/>
                  <a:lstStyle/>
                  <a:p>
                    <a:fld id="{FE76F2AB-F886-4A19-9173-80758D8CE745}" type="CELLRANGE">
                      <a:rPr lang="en-US"/>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6F3F-4891-A588-66FCA4279EF0}"/>
                </c:ext>
              </c:extLst>
            </c:dLbl>
            <c:dLbl>
              <c:idx val="47"/>
              <c:tx>
                <c:rich>
                  <a:bodyPr/>
                  <a:lstStyle/>
                  <a:p>
                    <a:fld id="{2B014969-D124-4BFD-8829-164C427CCD5C}" type="CELLRANGE">
                      <a:rPr lang="en-US"/>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6F3F-4891-A588-66FCA4279EF0}"/>
                </c:ext>
              </c:extLst>
            </c:dLbl>
            <c:dLbl>
              <c:idx val="48"/>
              <c:tx>
                <c:rich>
                  <a:bodyPr/>
                  <a:lstStyle/>
                  <a:p>
                    <a:fld id="{AD903AE0-FB0E-447D-ABA8-DBE0B9E628B4}" type="CELLRANGE">
                      <a:rPr lang="en-US"/>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6F3F-4891-A588-66FCA4279EF0}"/>
                </c:ext>
              </c:extLst>
            </c:dLbl>
            <c:dLbl>
              <c:idx val="49"/>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1-6F3F-4891-A588-66FCA4279EF0}"/>
                </c:ext>
              </c:extLst>
            </c:dLbl>
            <c:dLbl>
              <c:idx val="5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2-6F3F-4891-A588-66FCA4279EF0}"/>
                </c:ext>
              </c:extLst>
            </c:dLbl>
            <c:dLbl>
              <c:idx val="51"/>
              <c:tx>
                <c:rich>
                  <a:bodyPr/>
                  <a:lstStyle/>
                  <a:p>
                    <a:fld id="{5B6B8CF5-D1F9-425C-97A9-0779B3A39F62}" type="CELLRANGE">
                      <a:rPr lang="en-US"/>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6F3F-4891-A588-66FCA4279EF0}"/>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dLblPos val="in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7/5/2023</c:v>
                </c:pt>
                <c:pt idx="1">
                  <c:v>5/14/2023</c:v>
                </c:pt>
                <c:pt idx="2">
                  <c:v>5/21/2023</c:v>
                </c:pt>
                <c:pt idx="3">
                  <c:v>5/28/2023</c:v>
                </c:pt>
                <c:pt idx="4">
                  <c:v>4/6/2023</c:v>
                </c:pt>
                <c:pt idx="5">
                  <c:v>11/6/2023</c:v>
                </c:pt>
                <c:pt idx="6">
                  <c:v>6/18/2023</c:v>
                </c:pt>
                <c:pt idx="7">
                  <c:v>6/25/2023</c:v>
                </c:pt>
                <c:pt idx="8">
                  <c:v>2/7/2023</c:v>
                </c:pt>
                <c:pt idx="9">
                  <c:v>9/7/2023</c:v>
                </c:pt>
                <c:pt idx="10">
                  <c:v>7/16/2023</c:v>
                </c:pt>
                <c:pt idx="11">
                  <c:v>7/23/2023</c:v>
                </c:pt>
                <c:pt idx="12">
                  <c:v>7/30/2023</c:v>
                </c:pt>
                <c:pt idx="13">
                  <c:v>6/8/2023</c:v>
                </c:pt>
                <c:pt idx="14">
                  <c:v>8/13/2023</c:v>
                </c:pt>
                <c:pt idx="15">
                  <c:v>8/20/2023</c:v>
                </c:pt>
                <c:pt idx="16">
                  <c:v>8/27/2023</c:v>
                </c:pt>
                <c:pt idx="17">
                  <c:v>3/9/2023</c:v>
                </c:pt>
                <c:pt idx="18">
                  <c:v>10/9/2023</c:v>
                </c:pt>
                <c:pt idx="19">
                  <c:v>9/17/2023</c:v>
                </c:pt>
                <c:pt idx="20">
                  <c:v>9/24/2023</c:v>
                </c:pt>
                <c:pt idx="21">
                  <c:v>1/10/2023</c:v>
                </c:pt>
                <c:pt idx="22">
                  <c:v>8/10/2023</c:v>
                </c:pt>
                <c:pt idx="23">
                  <c:v>10/15/2023</c:v>
                </c:pt>
                <c:pt idx="24">
                  <c:v>10/22/2023</c:v>
                </c:pt>
                <c:pt idx="25">
                  <c:v>10/29/2023</c:v>
                </c:pt>
                <c:pt idx="26">
                  <c:v>5/11/2023</c:v>
                </c:pt>
                <c:pt idx="27">
                  <c:v>12/11/2023</c:v>
                </c:pt>
                <c:pt idx="28">
                  <c:v>11/19/2023</c:v>
                </c:pt>
                <c:pt idx="29">
                  <c:v>11/26/2023</c:v>
                </c:pt>
                <c:pt idx="30">
                  <c:v>3/12/2023</c:v>
                </c:pt>
                <c:pt idx="31">
                  <c:v>10/12/2023</c:v>
                </c:pt>
                <c:pt idx="32">
                  <c:v>12/17/2023</c:v>
                </c:pt>
                <c:pt idx="33">
                  <c:v>12/24/2023</c:v>
                </c:pt>
                <c:pt idx="34">
                  <c:v>12/31/2023</c:v>
                </c:pt>
                <c:pt idx="35">
                  <c:v>7/1/2024</c:v>
                </c:pt>
                <c:pt idx="36">
                  <c:v>1/14/2024</c:v>
                </c:pt>
                <c:pt idx="37">
                  <c:v>1/21/2024</c:v>
                </c:pt>
                <c:pt idx="38">
                  <c:v>1/28/2024</c:v>
                </c:pt>
                <c:pt idx="39">
                  <c:v>4/2/2024</c:v>
                </c:pt>
                <c:pt idx="40">
                  <c:v>11/2/2024</c:v>
                </c:pt>
                <c:pt idx="41">
                  <c:v>2/18/2024</c:v>
                </c:pt>
                <c:pt idx="42">
                  <c:v>2/25/2024</c:v>
                </c:pt>
                <c:pt idx="43">
                  <c:v>3/3/2024</c:v>
                </c:pt>
                <c:pt idx="44">
                  <c:v>10/3/2024</c:v>
                </c:pt>
                <c:pt idx="45">
                  <c:v>3/17/2024</c:v>
                </c:pt>
                <c:pt idx="46">
                  <c:v>3/24/2024</c:v>
                </c:pt>
                <c:pt idx="47">
                  <c:v>3/31/2024</c:v>
                </c:pt>
                <c:pt idx="48">
                  <c:v>7/4/2024</c:v>
                </c:pt>
                <c:pt idx="49">
                  <c:v>4/14/2024</c:v>
                </c:pt>
                <c:pt idx="50">
                  <c:v>4/21/2024</c:v>
                </c:pt>
                <c:pt idx="51">
                  <c:v>4/28/2024</c:v>
                </c:pt>
              </c:strCache>
            </c:strRef>
          </c:cat>
          <c:val>
            <c:numRef>
              <c:f>Sheet1!$C$2:$C$53</c:f>
              <c:numCache>
                <c:formatCode>0%</c:formatCode>
                <c:ptCount val="52"/>
                <c:pt idx="0">
                  <c:v>1</c:v>
                </c:pt>
                <c:pt idx="1">
                  <c:v>1</c:v>
                </c:pt>
                <c:pt idx="2">
                  <c:v>1</c:v>
                </c:pt>
                <c:pt idx="3">
                  <c:v>1</c:v>
                </c:pt>
                <c:pt idx="4">
                  <c:v>1</c:v>
                </c:pt>
                <c:pt idx="5">
                  <c:v>1</c:v>
                </c:pt>
                <c:pt idx="6">
                  <c:v>1</c:v>
                </c:pt>
                <c:pt idx="7">
                  <c:v>1</c:v>
                </c:pt>
                <c:pt idx="8">
                  <c:v>#N/A</c:v>
                </c:pt>
                <c:pt idx="9">
                  <c:v>1</c:v>
                </c:pt>
                <c:pt idx="10">
                  <c:v>#N/A</c:v>
                </c:pt>
                <c:pt idx="11">
                  <c:v>#N/A</c:v>
                </c:pt>
                <c:pt idx="12">
                  <c:v>1</c:v>
                </c:pt>
                <c:pt idx="13">
                  <c:v>1</c:v>
                </c:pt>
                <c:pt idx="14">
                  <c:v>#N/A</c:v>
                </c:pt>
                <c:pt idx="15">
                  <c:v>1</c:v>
                </c:pt>
                <c:pt idx="16">
                  <c:v>1</c:v>
                </c:pt>
                <c:pt idx="17">
                  <c:v>#N/A</c:v>
                </c:pt>
                <c:pt idx="18">
                  <c:v>1</c:v>
                </c:pt>
                <c:pt idx="19">
                  <c:v>1</c:v>
                </c:pt>
                <c:pt idx="20">
                  <c:v>1</c:v>
                </c:pt>
                <c:pt idx="21">
                  <c:v>1</c:v>
                </c:pt>
                <c:pt idx="22">
                  <c:v>1</c:v>
                </c:pt>
                <c:pt idx="23">
                  <c:v>1</c:v>
                </c:pt>
                <c:pt idx="24">
                  <c:v>#N/A</c:v>
                </c:pt>
                <c:pt idx="25">
                  <c:v>#N/A</c:v>
                </c:pt>
                <c:pt idx="26">
                  <c:v>1</c:v>
                </c:pt>
                <c:pt idx="27">
                  <c:v>#N/A</c:v>
                </c:pt>
                <c:pt idx="28">
                  <c:v>#N/A</c:v>
                </c:pt>
                <c:pt idx="29">
                  <c:v>1</c:v>
                </c:pt>
                <c:pt idx="30">
                  <c:v>1</c:v>
                </c:pt>
                <c:pt idx="31">
                  <c:v>#N/A</c:v>
                </c:pt>
                <c:pt idx="32">
                  <c:v>#N/A</c:v>
                </c:pt>
                <c:pt idx="33">
                  <c:v>1</c:v>
                </c:pt>
                <c:pt idx="34">
                  <c:v>1</c:v>
                </c:pt>
                <c:pt idx="35">
                  <c:v>1</c:v>
                </c:pt>
                <c:pt idx="36">
                  <c:v>1</c:v>
                </c:pt>
                <c:pt idx="37">
                  <c:v>#N/A</c:v>
                </c:pt>
                <c:pt idx="38">
                  <c:v>1</c:v>
                </c:pt>
                <c:pt idx="39">
                  <c:v>#N/A</c:v>
                </c:pt>
                <c:pt idx="40">
                  <c:v>1</c:v>
                </c:pt>
                <c:pt idx="41">
                  <c:v>1</c:v>
                </c:pt>
                <c:pt idx="42">
                  <c:v>#N/A</c:v>
                </c:pt>
                <c:pt idx="43">
                  <c:v>#N/A</c:v>
                </c:pt>
                <c:pt idx="44">
                  <c:v>1</c:v>
                </c:pt>
                <c:pt idx="45">
                  <c:v>1</c:v>
                </c:pt>
                <c:pt idx="46">
                  <c:v>1</c:v>
                </c:pt>
                <c:pt idx="47">
                  <c:v>1</c:v>
                </c:pt>
                <c:pt idx="48">
                  <c:v>1</c:v>
                </c:pt>
                <c:pt idx="49">
                  <c:v>#N/A</c:v>
                </c:pt>
                <c:pt idx="50">
                  <c:v>#N/A</c:v>
                </c:pt>
                <c:pt idx="51">
                  <c:v>1</c:v>
                </c:pt>
              </c:numCache>
            </c:numRef>
          </c:val>
          <c:extLst>
            <c:ext xmlns:c15="http://schemas.microsoft.com/office/drawing/2012/chart" uri="{02D57815-91ED-43cb-92C2-25804820EDAC}">
              <c15:datalabelsRange>
                <c15:f>Sheet1!$G$2:$G$53</c15:f>
                <c15:dlblRangeCache>
                  <c:ptCount val="52"/>
                  <c:pt idx="2">
                    <c:v>244%</c:v>
                  </c:pt>
                  <c:pt idx="45">
                    <c:v>209%</c:v>
                  </c:pt>
                </c15:dlblRangeCache>
              </c15:datalabelsRange>
            </c:ext>
            <c:ext xmlns:c16="http://schemas.microsoft.com/office/drawing/2014/chart" uri="{C3380CC4-5D6E-409C-BE32-E72D297353CC}">
              <c16:uniqueId val="{00000034-6F3F-4891-A588-66FCA4279EF0}"/>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bubble</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7/5/2023</c:v>
                </c:pt>
                <c:pt idx="1">
                  <c:v>5/14/2023</c:v>
                </c:pt>
                <c:pt idx="2">
                  <c:v>5/21/2023</c:v>
                </c:pt>
                <c:pt idx="3">
                  <c:v>5/28/2023</c:v>
                </c:pt>
                <c:pt idx="4">
                  <c:v>4/6/2023</c:v>
                </c:pt>
                <c:pt idx="5">
                  <c:v>11/6/2023</c:v>
                </c:pt>
                <c:pt idx="6">
                  <c:v>6/18/2023</c:v>
                </c:pt>
                <c:pt idx="7">
                  <c:v>6/25/2023</c:v>
                </c:pt>
                <c:pt idx="8">
                  <c:v>2/7/2023</c:v>
                </c:pt>
                <c:pt idx="9">
                  <c:v>9/7/2023</c:v>
                </c:pt>
                <c:pt idx="10">
                  <c:v>7/16/2023</c:v>
                </c:pt>
                <c:pt idx="11">
                  <c:v>7/23/2023</c:v>
                </c:pt>
                <c:pt idx="12">
                  <c:v>7/30/2023</c:v>
                </c:pt>
                <c:pt idx="13">
                  <c:v>6/8/2023</c:v>
                </c:pt>
                <c:pt idx="14">
                  <c:v>8/13/2023</c:v>
                </c:pt>
                <c:pt idx="15">
                  <c:v>8/20/2023</c:v>
                </c:pt>
                <c:pt idx="16">
                  <c:v>8/27/2023</c:v>
                </c:pt>
                <c:pt idx="17">
                  <c:v>3/9/2023</c:v>
                </c:pt>
                <c:pt idx="18">
                  <c:v>10/9/2023</c:v>
                </c:pt>
                <c:pt idx="19">
                  <c:v>9/17/2023</c:v>
                </c:pt>
                <c:pt idx="20">
                  <c:v>9/24/2023</c:v>
                </c:pt>
                <c:pt idx="21">
                  <c:v>1/10/2023</c:v>
                </c:pt>
                <c:pt idx="22">
                  <c:v>8/10/2023</c:v>
                </c:pt>
                <c:pt idx="23">
                  <c:v>10/15/2023</c:v>
                </c:pt>
                <c:pt idx="24">
                  <c:v>10/22/2023</c:v>
                </c:pt>
                <c:pt idx="25">
                  <c:v>10/29/2023</c:v>
                </c:pt>
                <c:pt idx="26">
                  <c:v>5/11/2023</c:v>
                </c:pt>
                <c:pt idx="27">
                  <c:v>12/11/2023</c:v>
                </c:pt>
                <c:pt idx="28">
                  <c:v>11/19/2023</c:v>
                </c:pt>
                <c:pt idx="29">
                  <c:v>11/26/2023</c:v>
                </c:pt>
                <c:pt idx="30">
                  <c:v>3/12/2023</c:v>
                </c:pt>
                <c:pt idx="31">
                  <c:v>10/12/2023</c:v>
                </c:pt>
                <c:pt idx="32">
                  <c:v>12/17/2023</c:v>
                </c:pt>
                <c:pt idx="33">
                  <c:v>12/24/2023</c:v>
                </c:pt>
                <c:pt idx="34">
                  <c:v>12/31/2023</c:v>
                </c:pt>
                <c:pt idx="35">
                  <c:v>7/1/2024</c:v>
                </c:pt>
                <c:pt idx="36">
                  <c:v>1/14/2024</c:v>
                </c:pt>
                <c:pt idx="37">
                  <c:v>1/21/2024</c:v>
                </c:pt>
                <c:pt idx="38">
                  <c:v>1/28/2024</c:v>
                </c:pt>
                <c:pt idx="39">
                  <c:v>4/2/2024</c:v>
                </c:pt>
                <c:pt idx="40">
                  <c:v>11/2/2024</c:v>
                </c:pt>
                <c:pt idx="41">
                  <c:v>2/18/2024</c:v>
                </c:pt>
                <c:pt idx="42">
                  <c:v>2/25/2024</c:v>
                </c:pt>
                <c:pt idx="43">
                  <c:v>3/3/2024</c:v>
                </c:pt>
                <c:pt idx="44">
                  <c:v>10/3/2024</c:v>
                </c:pt>
                <c:pt idx="45">
                  <c:v>3/17/2024</c:v>
                </c:pt>
                <c:pt idx="46">
                  <c:v>3/24/2024</c:v>
                </c:pt>
                <c:pt idx="47">
                  <c:v>3/31/2024</c:v>
                </c:pt>
                <c:pt idx="48">
                  <c:v>7/4/2024</c:v>
                </c:pt>
                <c:pt idx="49">
                  <c:v>4/14/2024</c:v>
                </c:pt>
                <c:pt idx="50">
                  <c:v>4/21/2024</c:v>
                </c:pt>
                <c:pt idx="51">
                  <c:v>4/28/2024</c:v>
                </c:pt>
              </c:strCache>
            </c:strRef>
          </c:cat>
          <c:val>
            <c:numRef>
              <c:f>Sheet1!$B$2:$B$53</c:f>
              <c:numCache>
                <c:formatCode>0%</c:formatCode>
                <c:ptCount val="52"/>
                <c:pt idx="0">
                  <c:v>0.83149283462587276</c:v>
                </c:pt>
                <c:pt idx="1">
                  <c:v>1.6315180743925193</c:v>
                </c:pt>
                <c:pt idx="2">
                  <c:v>2.4439356076015577</c:v>
                </c:pt>
                <c:pt idx="3">
                  <c:v>0.77292587642644184</c:v>
                </c:pt>
                <c:pt idx="4">
                  <c:v>0.74765866355299326</c:v>
                </c:pt>
                <c:pt idx="5">
                  <c:v>0.98081754103558449</c:v>
                </c:pt>
                <c:pt idx="6">
                  <c:v>0.70833026532165033</c:v>
                </c:pt>
                <c:pt idx="7">
                  <c:v>0.84407908755481287</c:v>
                </c:pt>
                <c:pt idx="8">
                  <c:v>#N/A</c:v>
                </c:pt>
                <c:pt idx="9">
                  <c:v>#N/A</c:v>
                </c:pt>
                <c:pt idx="10">
                  <c:v>#N/A</c:v>
                </c:pt>
                <c:pt idx="11">
                  <c:v>#N/A</c:v>
                </c:pt>
                <c:pt idx="12">
                  <c:v>#N/A</c:v>
                </c:pt>
                <c:pt idx="13">
                  <c:v>#N/A</c:v>
                </c:pt>
                <c:pt idx="14">
                  <c:v>#N/A</c:v>
                </c:pt>
                <c:pt idx="15">
                  <c:v>0.8725708042279976</c:v>
                </c:pt>
                <c:pt idx="16">
                  <c:v>0.4577243728236281</c:v>
                </c:pt>
                <c:pt idx="17">
                  <c:v>#N/A</c:v>
                </c:pt>
                <c:pt idx="18">
                  <c:v>0.15218560397131825</c:v>
                </c:pt>
                <c:pt idx="19">
                  <c:v>0.3636835009851706</c:v>
                </c:pt>
                <c:pt idx="20">
                  <c:v>0.23195425066291811</c:v>
                </c:pt>
                <c:pt idx="21">
                  <c:v>0.85483845584879525</c:v>
                </c:pt>
                <c:pt idx="22">
                  <c:v>0.3003459533206646</c:v>
                </c:pt>
                <c:pt idx="23">
                  <c:v>0.33698879958684352</c:v>
                </c:pt>
                <c:pt idx="24">
                  <c:v>#N/A</c:v>
                </c:pt>
                <c:pt idx="25">
                  <c:v>#N/A</c:v>
                </c:pt>
                <c:pt idx="26">
                  <c:v>0.47679126329628302</c:v>
                </c:pt>
                <c:pt idx="27">
                  <c:v>#N/A</c:v>
                </c:pt>
                <c:pt idx="28">
                  <c:v>#N/A</c:v>
                </c:pt>
                <c:pt idx="29">
                  <c:v>0.86927040954705725</c:v>
                </c:pt>
                <c:pt idx="30">
                  <c:v>7.1587946883100939E-2</c:v>
                </c:pt>
                <c:pt idx="31">
                  <c:v>#N/A</c:v>
                </c:pt>
                <c:pt idx="32">
                  <c:v>#N/A</c:v>
                </c:pt>
                <c:pt idx="33">
                  <c:v>0.91374133318774908</c:v>
                </c:pt>
                <c:pt idx="34">
                  <c:v>#N/A</c:v>
                </c:pt>
                <c:pt idx="35">
                  <c:v>#N/A</c:v>
                </c:pt>
                <c:pt idx="36">
                  <c:v>#N/A</c:v>
                </c:pt>
                <c:pt idx="37">
                  <c:v>#N/A</c:v>
                </c:pt>
                <c:pt idx="38">
                  <c:v>0.2039582880232598</c:v>
                </c:pt>
                <c:pt idx="39">
                  <c:v>#N/A</c:v>
                </c:pt>
                <c:pt idx="40">
                  <c:v>0.81834423418520841</c:v>
                </c:pt>
                <c:pt idx="41">
                  <c:v>0.24170478834974729</c:v>
                </c:pt>
                <c:pt idx="42">
                  <c:v>#N/A</c:v>
                </c:pt>
                <c:pt idx="43">
                  <c:v>#N/A</c:v>
                </c:pt>
                <c:pt idx="44">
                  <c:v>0.54761466764778022</c:v>
                </c:pt>
                <c:pt idx="45">
                  <c:v>2.0907701528318849</c:v>
                </c:pt>
                <c:pt idx="46">
                  <c:v>0.32255425519827291</c:v>
                </c:pt>
                <c:pt idx="47">
                  <c:v>0.60169518129022137</c:v>
                </c:pt>
                <c:pt idx="48">
                  <c:v>#N/A</c:v>
                </c:pt>
                <c:pt idx="49">
                  <c:v>#N/A</c:v>
                </c:pt>
                <c:pt idx="50">
                  <c:v>#N/A</c:v>
                </c:pt>
                <c:pt idx="51">
                  <c:v>0.47447486087432045</c:v>
                </c:pt>
              </c:numCache>
            </c:numRef>
          </c:val>
          <c:smooth val="0"/>
          <c:extLst>
            <c:ext xmlns:c16="http://schemas.microsoft.com/office/drawing/2014/chart" uri="{C3380CC4-5D6E-409C-BE32-E72D297353CC}">
              <c16:uniqueId val="{00000035-6F3F-4891-A588-66FCA4279EF0}"/>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36301826714690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c:formatCode>
                <c:ptCount val="52"/>
                <c:pt idx="0">
                  <c:v>#N/A</c:v>
                </c:pt>
                <c:pt idx="1">
                  <c:v>#N/A</c:v>
                </c:pt>
                <c:pt idx="2">
                  <c:v>1</c:v>
                </c:pt>
                <c:pt idx="3">
                  <c:v>1</c:v>
                </c:pt>
                <c:pt idx="4">
                  <c:v>1</c:v>
                </c:pt>
                <c:pt idx="5">
                  <c:v>1</c:v>
                </c:pt>
                <c:pt idx="6">
                  <c:v>1</c:v>
                </c:pt>
                <c:pt idx="7">
                  <c:v>1</c:v>
                </c:pt>
                <c:pt idx="8">
                  <c:v>1</c:v>
                </c:pt>
                <c:pt idx="9">
                  <c:v>1</c:v>
                </c:pt>
                <c:pt idx="10">
                  <c:v>1</c:v>
                </c:pt>
                <c:pt idx="11">
                  <c:v>1</c:v>
                </c:pt>
                <c:pt idx="12">
                  <c:v>1</c:v>
                </c:pt>
                <c:pt idx="13">
                  <c:v>1</c:v>
                </c:pt>
                <c:pt idx="14">
                  <c:v>1</c:v>
                </c:pt>
                <c:pt idx="15">
                  <c:v>#N/A</c:v>
                </c:pt>
                <c:pt idx="16">
                  <c:v>#N/A</c:v>
                </c:pt>
                <c:pt idx="17">
                  <c:v>#N/A</c:v>
                </c:pt>
                <c:pt idx="18">
                  <c:v>#N/A</c:v>
                </c:pt>
                <c:pt idx="19">
                  <c:v>#N/A</c:v>
                </c:pt>
                <c:pt idx="20">
                  <c:v>#N/A</c:v>
                </c:pt>
                <c:pt idx="21">
                  <c:v>#N/A</c:v>
                </c:pt>
                <c:pt idx="22">
                  <c:v>1</c:v>
                </c:pt>
                <c:pt idx="23">
                  <c:v>1</c:v>
                </c:pt>
                <c:pt idx="24">
                  <c:v>1</c:v>
                </c:pt>
                <c:pt idx="25">
                  <c:v>#N/A</c:v>
                </c:pt>
                <c:pt idx="26">
                  <c:v>#N/A</c:v>
                </c:pt>
                <c:pt idx="27">
                  <c:v>#N/A</c:v>
                </c:pt>
                <c:pt idx="28">
                  <c:v>#N/A</c:v>
                </c:pt>
                <c:pt idx="29">
                  <c:v>#N/A</c:v>
                </c:pt>
                <c:pt idx="30">
                  <c:v>#N/A</c:v>
                </c:pt>
                <c:pt idx="31">
                  <c:v>#N/A</c:v>
                </c:pt>
                <c:pt idx="32">
                  <c:v>#N/A</c:v>
                </c:pt>
                <c:pt idx="33">
                  <c:v>#N/A</c:v>
                </c:pt>
                <c:pt idx="34">
                  <c:v>1</c:v>
                </c:pt>
                <c:pt idx="35">
                  <c:v>#N/A</c:v>
                </c:pt>
                <c:pt idx="36">
                  <c:v>#N/A</c:v>
                </c:pt>
                <c:pt idx="37">
                  <c:v>#N/A</c:v>
                </c:pt>
                <c:pt idx="38">
                  <c:v>#N/A</c:v>
                </c:pt>
                <c:pt idx="39">
                  <c:v>1</c:v>
                </c:pt>
                <c:pt idx="40">
                  <c:v>1</c:v>
                </c:pt>
                <c:pt idx="41">
                  <c:v>1</c:v>
                </c:pt>
                <c:pt idx="42">
                  <c:v>1</c:v>
                </c:pt>
                <c:pt idx="43">
                  <c:v>1</c:v>
                </c:pt>
                <c:pt idx="44">
                  <c:v>#N/A</c:v>
                </c:pt>
                <c:pt idx="45">
                  <c:v>#N/A</c:v>
                </c:pt>
                <c:pt idx="46">
                  <c:v>#N/A</c:v>
                </c:pt>
                <c:pt idx="47">
                  <c:v>#N/A</c:v>
                </c:pt>
                <c:pt idx="48">
                  <c:v>#N/A</c:v>
                </c:pt>
                <c:pt idx="49">
                  <c:v>#N/A</c:v>
                </c:pt>
                <c:pt idx="50">
                  <c:v>#N/A</c:v>
                </c:pt>
                <c:pt idx="51">
                  <c:v>#N/A</c:v>
                </c:pt>
              </c:numCache>
            </c:numRef>
          </c:val>
          <c:extLst>
            <c:ext xmlns:c16="http://schemas.microsoft.com/office/drawing/2014/chart" uri="{C3380CC4-5D6E-409C-BE32-E72D297353CC}">
              <c16:uniqueId val="{00000000-3553-47F7-9D8D-B7ECA91FF30F}"/>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c:formatCode>
                <c:ptCount val="52"/>
                <c:pt idx="0">
                  <c:v>#N/A</c:v>
                </c:pt>
                <c:pt idx="1">
                  <c:v>#N/A</c:v>
                </c:pt>
                <c:pt idx="2">
                  <c:v>0.11367872175570121</c:v>
                </c:pt>
                <c:pt idx="3">
                  <c:v>0.12132533378739771</c:v>
                </c:pt>
                <c:pt idx="4">
                  <c:v>0.2148614964962611</c:v>
                </c:pt>
                <c:pt idx="5">
                  <c:v>0.17336822212530892</c:v>
                </c:pt>
                <c:pt idx="6">
                  <c:v>0.16371495760272436</c:v>
                </c:pt>
                <c:pt idx="7">
                  <c:v>0.359005905511811</c:v>
                </c:pt>
                <c:pt idx="8">
                  <c:v>0.35807339627396623</c:v>
                </c:pt>
                <c:pt idx="9">
                  <c:v>0.3262485253637436</c:v>
                </c:pt>
                <c:pt idx="10">
                  <c:v>0.18571348293560108</c:v>
                </c:pt>
                <c:pt idx="11">
                  <c:v>0.14821256608297467</c:v>
                </c:pt>
                <c:pt idx="12">
                  <c:v>0.11874984490930296</c:v>
                </c:pt>
                <c:pt idx="13">
                  <c:v>0.26535114062005177</c:v>
                </c:pt>
                <c:pt idx="14">
                  <c:v>#N/A</c:v>
                </c:pt>
                <c:pt idx="15">
                  <c:v>#N/A</c:v>
                </c:pt>
                <c:pt idx="16">
                  <c:v>#N/A</c:v>
                </c:pt>
                <c:pt idx="17">
                  <c:v>#N/A</c:v>
                </c:pt>
                <c:pt idx="18">
                  <c:v>#N/A</c:v>
                </c:pt>
                <c:pt idx="19">
                  <c:v>#N/A</c:v>
                </c:pt>
                <c:pt idx="20">
                  <c:v>#N/A</c:v>
                </c:pt>
                <c:pt idx="21">
                  <c:v>#N/A</c:v>
                </c:pt>
                <c:pt idx="22">
                  <c:v>0.40337942434339991</c:v>
                </c:pt>
                <c:pt idx="23">
                  <c:v>0.48057218130862606</c:v>
                </c:pt>
                <c:pt idx="24">
                  <c:v>8.1719681066375477E-2</c:v>
                </c:pt>
                <c:pt idx="25">
                  <c:v>#N/A</c:v>
                </c:pt>
                <c:pt idx="26">
                  <c:v>#N/A</c:v>
                </c:pt>
                <c:pt idx="27">
                  <c:v>#N/A</c:v>
                </c:pt>
                <c:pt idx="28">
                  <c:v>#N/A</c:v>
                </c:pt>
                <c:pt idx="29">
                  <c:v>#N/A</c:v>
                </c:pt>
                <c:pt idx="30">
                  <c:v>#N/A</c:v>
                </c:pt>
                <c:pt idx="31">
                  <c:v>#N/A</c:v>
                </c:pt>
                <c:pt idx="32">
                  <c:v>#N/A</c:v>
                </c:pt>
                <c:pt idx="33">
                  <c:v>#N/A</c:v>
                </c:pt>
                <c:pt idx="34">
                  <c:v>0.14244945048272512</c:v>
                </c:pt>
                <c:pt idx="35">
                  <c:v>#N/A</c:v>
                </c:pt>
                <c:pt idx="36">
                  <c:v>#N/A</c:v>
                </c:pt>
                <c:pt idx="37">
                  <c:v>#N/A</c:v>
                </c:pt>
                <c:pt idx="38">
                  <c:v>#N/A</c:v>
                </c:pt>
                <c:pt idx="39">
                  <c:v>#N/A</c:v>
                </c:pt>
                <c:pt idx="40">
                  <c:v>#N/A</c:v>
                </c:pt>
                <c:pt idx="41">
                  <c:v>0.47272657381187294</c:v>
                </c:pt>
                <c:pt idx="42">
                  <c:v>0.62001930605459321</c:v>
                </c:pt>
                <c:pt idx="43">
                  <c:v>0.40657862283907709</c:v>
                </c:pt>
                <c:pt idx="44">
                  <c:v>#N/A</c:v>
                </c:pt>
                <c:pt idx="45">
                  <c:v>#N/A</c:v>
                </c:pt>
                <c:pt idx="46">
                  <c:v>#N/A</c:v>
                </c:pt>
                <c:pt idx="47">
                  <c:v>#N/A</c:v>
                </c:pt>
                <c:pt idx="48">
                  <c:v>#N/A</c:v>
                </c:pt>
                <c:pt idx="49">
                  <c:v>#N/A</c:v>
                </c:pt>
                <c:pt idx="50">
                  <c:v>#N/A</c:v>
                </c:pt>
                <c:pt idx="51">
                  <c:v>#N/A</c:v>
                </c:pt>
              </c:numCache>
            </c:numRef>
          </c:val>
          <c:smooth val="0"/>
          <c:extLst>
            <c:ext xmlns:c16="http://schemas.microsoft.com/office/drawing/2014/chart" uri="{C3380CC4-5D6E-409C-BE32-E72D297353CC}">
              <c16:uniqueId val="{00000001-3553-47F7-9D8D-B7ECA91FF30F}"/>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630832953738916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dLbls>
            <c:dLbl>
              <c:idx val="0"/>
              <c:tx>
                <c:rich>
                  <a:bodyPr/>
                  <a:lstStyle/>
                  <a:p>
                    <a:fld id="{DF80D00E-2AE2-4CDE-84AE-6646B54D4944}"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AFCA-4943-AA4B-9818CF1C0054}"/>
                </c:ext>
              </c:extLst>
            </c:dLbl>
            <c:dLbl>
              <c:idx val="1"/>
              <c:tx>
                <c:rich>
                  <a:bodyPr/>
                  <a:lstStyle/>
                  <a:p>
                    <a:fld id="{5131E3C4-EA8F-426B-8CEA-BA9523BD0AB7}"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AFCA-4943-AA4B-9818CF1C0054}"/>
                </c:ext>
              </c:extLst>
            </c:dLbl>
            <c:dLbl>
              <c:idx val="2"/>
              <c:tx>
                <c:rich>
                  <a:bodyPr/>
                  <a:lstStyle/>
                  <a:p>
                    <a:fld id="{A6DA9FCE-4AA3-49C0-B05C-6CBA0D2CE0C9}"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AFCA-4943-AA4B-9818CF1C0054}"/>
                </c:ext>
              </c:extLst>
            </c:dLbl>
            <c:dLbl>
              <c:idx val="3"/>
              <c:tx>
                <c:rich>
                  <a:bodyPr/>
                  <a:lstStyle/>
                  <a:p>
                    <a:fld id="{71EBF1B9-5389-41AF-BB72-E0C82EEB6A5E}"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AFCA-4943-AA4B-9818CF1C0054}"/>
                </c:ext>
              </c:extLst>
            </c:dLbl>
            <c:dLbl>
              <c:idx val="4"/>
              <c:tx>
                <c:rich>
                  <a:bodyPr/>
                  <a:lstStyle/>
                  <a:p>
                    <a:fld id="{AD34D4BC-7CA1-4E25-AB5D-B4DED1C1B97F}"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AFCA-4943-AA4B-9818CF1C0054}"/>
                </c:ext>
              </c:extLst>
            </c:dLbl>
            <c:dLbl>
              <c:idx val="5"/>
              <c:tx>
                <c:rich>
                  <a:bodyPr/>
                  <a:lstStyle/>
                  <a:p>
                    <a:fld id="{227DC4BE-34A9-4F07-8597-A85263DBCAB9}"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AFCA-4943-AA4B-9818CF1C0054}"/>
                </c:ext>
              </c:extLst>
            </c:dLbl>
            <c:dLbl>
              <c:idx val="6"/>
              <c:tx>
                <c:rich>
                  <a:bodyPr/>
                  <a:lstStyle/>
                  <a:p>
                    <a:fld id="{DC4E7DBA-3E18-49FE-B0E5-726BA580540A}"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AFCA-4943-AA4B-9818CF1C0054}"/>
                </c:ext>
              </c:extLst>
            </c:dLbl>
            <c:dLbl>
              <c:idx val="7"/>
              <c:tx>
                <c:rich>
                  <a:bodyPr/>
                  <a:lstStyle/>
                  <a:p>
                    <a:fld id="{31569E4B-890B-4F02-8409-1C120A7F0128}"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AFCA-4943-AA4B-9818CF1C0054}"/>
                </c:ext>
              </c:extLst>
            </c:dLbl>
            <c:dLbl>
              <c:idx val="8"/>
              <c:tx>
                <c:rich>
                  <a:bodyPr/>
                  <a:lstStyle/>
                  <a:p>
                    <a:fld id="{1425330E-EB61-428D-A486-9BFC796A12EA}"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AFCA-4943-AA4B-9818CF1C0054}"/>
                </c:ext>
              </c:extLst>
            </c:dLbl>
            <c:dLbl>
              <c:idx val="9"/>
              <c:tx>
                <c:rich>
                  <a:bodyPr/>
                  <a:lstStyle/>
                  <a:p>
                    <a:fld id="{9184EB08-9C6C-4DC6-8D51-1B77104405B4}"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AFCA-4943-AA4B-9818CF1C0054}"/>
                </c:ext>
              </c:extLst>
            </c:dLbl>
            <c:dLbl>
              <c:idx val="1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AFCA-4943-AA4B-9818CF1C0054}"/>
                </c:ext>
              </c:extLst>
            </c:dLbl>
            <c:dLbl>
              <c:idx val="1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AFCA-4943-AA4B-9818CF1C0054}"/>
                </c:ext>
              </c:extLst>
            </c:dLbl>
            <c:dLbl>
              <c:idx val="1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AFCA-4943-AA4B-9818CF1C0054}"/>
                </c:ext>
              </c:extLst>
            </c:dLbl>
            <c:dLbl>
              <c:idx val="13"/>
              <c:tx>
                <c:rich>
                  <a:bodyPr/>
                  <a:lstStyle/>
                  <a:p>
                    <a:fld id="{0717640A-9340-48F7-8094-66D865C27BED}"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AFCA-4943-AA4B-9818CF1C0054}"/>
                </c:ext>
              </c:extLst>
            </c:dLbl>
            <c:dLbl>
              <c:idx val="14"/>
              <c:tx>
                <c:rich>
                  <a:bodyPr/>
                  <a:lstStyle/>
                  <a:p>
                    <a:fld id="{125EDC37-76B0-46AD-BCBF-E4082C6B9A3A}"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AFCA-4943-AA4B-9818CF1C0054}"/>
                </c:ext>
              </c:extLst>
            </c:dLbl>
            <c:dLbl>
              <c:idx val="15"/>
              <c:tx>
                <c:rich>
                  <a:bodyPr/>
                  <a:lstStyle/>
                  <a:p>
                    <a:fld id="{7732B7ED-428E-4BAE-A093-11B80AC59B89}"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AFCA-4943-AA4B-9818CF1C0054}"/>
                </c:ext>
              </c:extLst>
            </c:dLbl>
            <c:dLbl>
              <c:idx val="1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AFCA-4943-AA4B-9818CF1C0054}"/>
                </c:ext>
              </c:extLst>
            </c:dLbl>
            <c:dLbl>
              <c:idx val="1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AFCA-4943-AA4B-9818CF1C0054}"/>
                </c:ext>
              </c:extLst>
            </c:dLbl>
            <c:dLbl>
              <c:idx val="1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AFCA-4943-AA4B-9818CF1C0054}"/>
                </c:ext>
              </c:extLst>
            </c:dLbl>
            <c:dLbl>
              <c:idx val="19"/>
              <c:tx>
                <c:rich>
                  <a:bodyPr/>
                  <a:lstStyle/>
                  <a:p>
                    <a:fld id="{4D91DEED-17F8-4CBD-8E40-FD4A39BD5087}"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AFCA-4943-AA4B-9818CF1C0054}"/>
                </c:ext>
              </c:extLst>
            </c:dLbl>
            <c:dLbl>
              <c:idx val="20"/>
              <c:tx>
                <c:rich>
                  <a:bodyPr/>
                  <a:lstStyle/>
                  <a:p>
                    <a:fld id="{97668230-54CA-49A9-893E-46CE96C4B7DF}"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AFCA-4943-AA4B-9818CF1C0054}"/>
                </c:ext>
              </c:extLst>
            </c:dLbl>
            <c:dLbl>
              <c:idx val="21"/>
              <c:tx>
                <c:rich>
                  <a:bodyPr/>
                  <a:lstStyle/>
                  <a:p>
                    <a:fld id="{60EECC9F-F150-4339-9B4F-2176CFE3457E}"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AFCA-4943-AA4B-9818CF1C0054}"/>
                </c:ext>
              </c:extLst>
            </c:dLbl>
            <c:dLbl>
              <c:idx val="2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AFCA-4943-AA4B-9818CF1C0054}"/>
                </c:ext>
              </c:extLst>
            </c:dLbl>
            <c:dLbl>
              <c:idx val="23"/>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AFCA-4943-AA4B-9818CF1C0054}"/>
                </c:ext>
              </c:extLst>
            </c:dLbl>
            <c:dLbl>
              <c:idx val="2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AFCA-4943-AA4B-9818CF1C0054}"/>
                </c:ext>
              </c:extLst>
            </c:dLbl>
            <c:dLbl>
              <c:idx val="25"/>
              <c:tx>
                <c:rich>
                  <a:bodyPr/>
                  <a:lstStyle/>
                  <a:p>
                    <a:fld id="{126DFA80-3645-42B4-9437-131310E55DDE}"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AFCA-4943-AA4B-9818CF1C0054}"/>
                </c:ext>
              </c:extLst>
            </c:dLbl>
            <c:dLbl>
              <c:idx val="26"/>
              <c:tx>
                <c:rich>
                  <a:bodyPr/>
                  <a:lstStyle/>
                  <a:p>
                    <a:fld id="{44D89338-AC90-430C-B54E-B2E24A6BAE99}"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AFCA-4943-AA4B-9818CF1C0054}"/>
                </c:ext>
              </c:extLst>
            </c:dLbl>
            <c:dLbl>
              <c:idx val="27"/>
              <c:tx>
                <c:rich>
                  <a:bodyPr/>
                  <a:lstStyle/>
                  <a:p>
                    <a:fld id="{DF93DEF3-2946-46EF-ADE0-5498C4D6F5CF}"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AFCA-4943-AA4B-9818CF1C0054}"/>
                </c:ext>
              </c:extLst>
            </c:dLbl>
            <c:dLbl>
              <c:idx val="28"/>
              <c:tx>
                <c:rich>
                  <a:bodyPr/>
                  <a:lstStyle/>
                  <a:p>
                    <a:fld id="{E0ABB6BA-FDAB-4BC6-BB7F-1FFD7AE836B6}"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AFCA-4943-AA4B-9818CF1C0054}"/>
                </c:ext>
              </c:extLst>
            </c:dLbl>
            <c:dLbl>
              <c:idx val="29"/>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AFCA-4943-AA4B-9818CF1C0054}"/>
                </c:ext>
              </c:extLst>
            </c:dLbl>
            <c:dLbl>
              <c:idx val="3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E-AFCA-4943-AA4B-9818CF1C0054}"/>
                </c:ext>
              </c:extLst>
            </c:dLbl>
            <c:dLbl>
              <c:idx val="31"/>
              <c:tx>
                <c:rich>
                  <a:bodyPr/>
                  <a:lstStyle/>
                  <a:p>
                    <a:fld id="{209567B5-C6CA-4DF4-8C01-BA0B004EF236}"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AFCA-4943-AA4B-9818CF1C0054}"/>
                </c:ext>
              </c:extLst>
            </c:dLbl>
            <c:dLbl>
              <c:idx val="32"/>
              <c:tx>
                <c:rich>
                  <a:bodyPr/>
                  <a:lstStyle/>
                  <a:p>
                    <a:fld id="{0B58487D-9B74-4760-80A5-CDC5C520A82C}"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AFCA-4943-AA4B-9818CF1C0054}"/>
                </c:ext>
              </c:extLst>
            </c:dLbl>
            <c:dLbl>
              <c:idx val="33"/>
              <c:tx>
                <c:rich>
                  <a:bodyPr/>
                  <a:lstStyle/>
                  <a:p>
                    <a:fld id="{2BAE012A-9F9B-4883-8F82-F99730EFE777}"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AFCA-4943-AA4B-9818CF1C0054}"/>
                </c:ext>
              </c:extLst>
            </c:dLbl>
            <c:dLbl>
              <c:idx val="3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AFCA-4943-AA4B-9818CF1C0054}"/>
                </c:ext>
              </c:extLst>
            </c:dLbl>
            <c:dLbl>
              <c:idx val="35"/>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AFCA-4943-AA4B-9818CF1C0054}"/>
                </c:ext>
              </c:extLst>
            </c:dLbl>
            <c:dLbl>
              <c:idx val="3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AFCA-4943-AA4B-9818CF1C0054}"/>
                </c:ext>
              </c:extLst>
            </c:dLbl>
            <c:dLbl>
              <c:idx val="37"/>
              <c:tx>
                <c:rich>
                  <a:bodyPr/>
                  <a:lstStyle/>
                  <a:p>
                    <a:fld id="{0E77B37F-3BF6-47BE-983D-C106016A100C}"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AFCA-4943-AA4B-9818CF1C0054}"/>
                </c:ext>
              </c:extLst>
            </c:dLbl>
            <c:dLbl>
              <c:idx val="38"/>
              <c:tx>
                <c:rich>
                  <a:bodyPr/>
                  <a:lstStyle/>
                  <a:p>
                    <a:fld id="{89DE85FF-E66A-4B9A-BAEB-A85E94101CEE}" type="CELLRANGE">
                      <a:rPr lang="en-CH"/>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AFCA-4943-AA4B-9818CF1C0054}"/>
                </c:ext>
              </c:extLst>
            </c:dLbl>
            <c:dLbl>
              <c:idx val="39"/>
              <c:tx>
                <c:rich>
                  <a:bodyPr/>
                  <a:lstStyle/>
                  <a:p>
                    <a:fld id="{3DE2FD97-4D07-4AD1-AD1C-B610C82DAD9E}"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AFCA-4943-AA4B-9818CF1C0054}"/>
                </c:ext>
              </c:extLst>
            </c:dLbl>
            <c:dLbl>
              <c:idx val="4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8-AFCA-4943-AA4B-9818CF1C0054}"/>
                </c:ext>
              </c:extLst>
            </c:dLbl>
            <c:dLbl>
              <c:idx val="4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9-AFCA-4943-AA4B-9818CF1C0054}"/>
                </c:ext>
              </c:extLst>
            </c:dLbl>
            <c:dLbl>
              <c:idx val="4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AFCA-4943-AA4B-9818CF1C0054}"/>
                </c:ext>
              </c:extLst>
            </c:dLbl>
            <c:dLbl>
              <c:idx val="43"/>
              <c:tx>
                <c:rich>
                  <a:bodyPr/>
                  <a:lstStyle/>
                  <a:p>
                    <a:fld id="{988F9B62-8C21-415F-88D2-619DC6C84D4F}"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AFCA-4943-AA4B-9818CF1C0054}"/>
                </c:ext>
              </c:extLst>
            </c:dLbl>
            <c:dLbl>
              <c:idx val="44"/>
              <c:tx>
                <c:rich>
                  <a:bodyPr/>
                  <a:lstStyle/>
                  <a:p>
                    <a:fld id="{61EFE56E-E4FD-453D-94F1-B9B77FCCB66E}"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AFCA-4943-AA4B-9818CF1C0054}"/>
                </c:ext>
              </c:extLst>
            </c:dLbl>
            <c:dLbl>
              <c:idx val="45"/>
              <c:tx>
                <c:rich>
                  <a:bodyPr/>
                  <a:lstStyle/>
                  <a:p>
                    <a:fld id="{9415BBC1-6CDD-4C54-AE2C-4150B99BE40A}"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AFCA-4943-AA4B-9818CF1C0054}"/>
                </c:ext>
              </c:extLst>
            </c:dLbl>
            <c:dLbl>
              <c:idx val="4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E-AFCA-4943-AA4B-9818CF1C0054}"/>
                </c:ext>
              </c:extLst>
            </c:dLbl>
            <c:dLbl>
              <c:idx val="4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F-AFCA-4943-AA4B-9818CF1C0054}"/>
                </c:ext>
              </c:extLst>
            </c:dLbl>
            <c:dLbl>
              <c:idx val="4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0-AFCA-4943-AA4B-9818CF1C0054}"/>
                </c:ext>
              </c:extLst>
            </c:dLbl>
            <c:dLbl>
              <c:idx val="49"/>
              <c:tx>
                <c:rich>
                  <a:bodyPr/>
                  <a:lstStyle/>
                  <a:p>
                    <a:fld id="{FCC373BC-E4B8-40B4-B4AB-8157FF116C38}"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AFCA-4943-AA4B-9818CF1C0054}"/>
                </c:ext>
              </c:extLst>
            </c:dLbl>
            <c:dLbl>
              <c:idx val="50"/>
              <c:tx>
                <c:rich>
                  <a:bodyPr/>
                  <a:lstStyle/>
                  <a:p>
                    <a:fld id="{C59D5B7A-0E85-43AA-9580-485DFEE2D035}"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AFCA-4943-AA4B-9818CF1C0054}"/>
                </c:ext>
              </c:extLst>
            </c:dLbl>
            <c:dLbl>
              <c:idx val="51"/>
              <c:tx>
                <c:rich>
                  <a:bodyPr/>
                  <a:lstStyle/>
                  <a:p>
                    <a:fld id="{DE140148-E73D-4FDD-99D5-4ED495A0342C}"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AFCA-4943-AA4B-9818CF1C0054}"/>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0%;0%</c:formatCode>
                <c:ptCount val="52"/>
                <c:pt idx="0">
                  <c:v>1</c:v>
                </c:pt>
                <c:pt idx="1">
                  <c:v>1</c:v>
                </c:pt>
                <c:pt idx="2">
                  <c:v>1</c:v>
                </c:pt>
                <c:pt idx="3">
                  <c:v>1</c:v>
                </c:pt>
                <c:pt idx="4">
                  <c:v>1</c:v>
                </c:pt>
                <c:pt idx="5">
                  <c:v>1</c:v>
                </c:pt>
                <c:pt idx="6">
                  <c:v>1</c:v>
                </c:pt>
                <c:pt idx="7">
                  <c:v>1</c:v>
                </c:pt>
                <c:pt idx="8">
                  <c:v>1</c:v>
                </c:pt>
                <c:pt idx="9">
                  <c:v>1</c:v>
                </c:pt>
                <c:pt idx="10">
                  <c:v>#N/A</c:v>
                </c:pt>
                <c:pt idx="11">
                  <c:v>#N/A</c:v>
                </c:pt>
                <c:pt idx="12">
                  <c:v>#N/A</c:v>
                </c:pt>
                <c:pt idx="13">
                  <c:v>1</c:v>
                </c:pt>
                <c:pt idx="14">
                  <c:v>1</c:v>
                </c:pt>
                <c:pt idx="15">
                  <c:v>1</c:v>
                </c:pt>
                <c:pt idx="16">
                  <c:v>#N/A</c:v>
                </c:pt>
                <c:pt idx="17">
                  <c:v>#N/A</c:v>
                </c:pt>
                <c:pt idx="18">
                  <c:v>#N/A</c:v>
                </c:pt>
                <c:pt idx="19">
                  <c:v>1</c:v>
                </c:pt>
                <c:pt idx="20">
                  <c:v>1</c:v>
                </c:pt>
                <c:pt idx="21">
                  <c:v>1</c:v>
                </c:pt>
                <c:pt idx="22">
                  <c:v>#N/A</c:v>
                </c:pt>
                <c:pt idx="23">
                  <c:v>#N/A</c:v>
                </c:pt>
                <c:pt idx="24">
                  <c:v>#N/A</c:v>
                </c:pt>
                <c:pt idx="25">
                  <c:v>1</c:v>
                </c:pt>
                <c:pt idx="26">
                  <c:v>1</c:v>
                </c:pt>
                <c:pt idx="27">
                  <c:v>1</c:v>
                </c:pt>
                <c:pt idx="28">
                  <c:v>1</c:v>
                </c:pt>
                <c:pt idx="29">
                  <c:v>#N/A</c:v>
                </c:pt>
                <c:pt idx="30">
                  <c:v>#N/A</c:v>
                </c:pt>
                <c:pt idx="31">
                  <c:v>1</c:v>
                </c:pt>
                <c:pt idx="32">
                  <c:v>1</c:v>
                </c:pt>
                <c:pt idx="33">
                  <c:v>1</c:v>
                </c:pt>
                <c:pt idx="34">
                  <c:v>#N/A</c:v>
                </c:pt>
                <c:pt idx="35">
                  <c:v>#N/A</c:v>
                </c:pt>
                <c:pt idx="36">
                  <c:v>#N/A</c:v>
                </c:pt>
                <c:pt idx="37">
                  <c:v>1</c:v>
                </c:pt>
                <c:pt idx="38">
                  <c:v>1</c:v>
                </c:pt>
                <c:pt idx="39">
                  <c:v>1</c:v>
                </c:pt>
                <c:pt idx="40">
                  <c:v>#N/A</c:v>
                </c:pt>
                <c:pt idx="41">
                  <c:v>#N/A</c:v>
                </c:pt>
                <c:pt idx="42">
                  <c:v>#N/A</c:v>
                </c:pt>
                <c:pt idx="43">
                  <c:v>1</c:v>
                </c:pt>
                <c:pt idx="44">
                  <c:v>1</c:v>
                </c:pt>
                <c:pt idx="45">
                  <c:v>1</c:v>
                </c:pt>
                <c:pt idx="46">
                  <c:v>#N/A</c:v>
                </c:pt>
                <c:pt idx="47">
                  <c:v>#N/A</c:v>
                </c:pt>
                <c:pt idx="48">
                  <c:v>#N/A</c:v>
                </c:pt>
                <c:pt idx="49">
                  <c:v>1</c:v>
                </c:pt>
                <c:pt idx="50">
                  <c:v>1</c:v>
                </c:pt>
                <c:pt idx="51">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AFCA-4943-AA4B-9818CF1C0054}"/>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0%;0%</c:formatCode>
                <c:ptCount val="52"/>
                <c:pt idx="0">
                  <c:v>0.31741195933698862</c:v>
                </c:pt>
                <c:pt idx="1">
                  <c:v>0.55552518945359541</c:v>
                </c:pt>
                <c:pt idx="2">
                  <c:v>0.47761625108308464</c:v>
                </c:pt>
                <c:pt idx="3">
                  <c:v>0.43712699308174235</c:v>
                </c:pt>
                <c:pt idx="4">
                  <c:v>0.36264807702176205</c:v>
                </c:pt>
                <c:pt idx="5">
                  <c:v>0.38422904683399911</c:v>
                </c:pt>
                <c:pt idx="6">
                  <c:v>0.40742054727108346</c:v>
                </c:pt>
                <c:pt idx="7">
                  <c:v>1.0321668026535173</c:v>
                </c:pt>
                <c:pt idx="8">
                  <c:v>0.5462931131314438</c:v>
                </c:pt>
                <c:pt idx="9">
                  <c:v>0.76245047295306534</c:v>
                </c:pt>
                <c:pt idx="10">
                  <c:v>#N/A</c:v>
                </c:pt>
                <c:pt idx="11">
                  <c:v>#N/A</c:v>
                </c:pt>
                <c:pt idx="12">
                  <c:v>#N/A</c:v>
                </c:pt>
                <c:pt idx="13">
                  <c:v>0.2685619698185851</c:v>
                </c:pt>
                <c:pt idx="14">
                  <c:v>0.60045689300840521</c:v>
                </c:pt>
                <c:pt idx="15">
                  <c:v>0.3622105904776648</c:v>
                </c:pt>
                <c:pt idx="16">
                  <c:v>#N/A</c:v>
                </c:pt>
                <c:pt idx="17">
                  <c:v>#N/A</c:v>
                </c:pt>
                <c:pt idx="18">
                  <c:v>#N/A</c:v>
                </c:pt>
                <c:pt idx="19">
                  <c:v>0.10463941845632306</c:v>
                </c:pt>
                <c:pt idx="20">
                  <c:v>0.52569649178121824</c:v>
                </c:pt>
                <c:pt idx="21">
                  <c:v>0.14491334978561482</c:v>
                </c:pt>
                <c:pt idx="22">
                  <c:v>#N/A</c:v>
                </c:pt>
                <c:pt idx="23">
                  <c:v>#N/A</c:v>
                </c:pt>
                <c:pt idx="24">
                  <c:v>#N/A</c:v>
                </c:pt>
                <c:pt idx="25">
                  <c:v>0.18886446202424201</c:v>
                </c:pt>
                <c:pt idx="26">
                  <c:v>0.22372048262984959</c:v>
                </c:pt>
                <c:pt idx="27">
                  <c:v>0.36828644501278773</c:v>
                </c:pt>
                <c:pt idx="28">
                  <c:v>#N/A</c:v>
                </c:pt>
                <c:pt idx="29">
                  <c:v>#N/A</c:v>
                </c:pt>
                <c:pt idx="30">
                  <c:v>#N/A</c:v>
                </c:pt>
                <c:pt idx="31">
                  <c:v>0.12294597048113506</c:v>
                </c:pt>
                <c:pt idx="32">
                  <c:v>0.50035194109047598</c:v>
                </c:pt>
                <c:pt idx="33">
                  <c:v>0.41802358537751055</c:v>
                </c:pt>
                <c:pt idx="34">
                  <c:v>#N/A</c:v>
                </c:pt>
                <c:pt idx="35">
                  <c:v>#N/A</c:v>
                </c:pt>
                <c:pt idx="36">
                  <c:v>#N/A</c:v>
                </c:pt>
                <c:pt idx="37">
                  <c:v>0.86697921202118289</c:v>
                </c:pt>
                <c:pt idx="38">
                  <c:v>2.5595210495451881</c:v>
                </c:pt>
                <c:pt idx="39">
                  <c:v>0.36886480958675349</c:v>
                </c:pt>
                <c:pt idx="40">
                  <c:v>#N/A</c:v>
                </c:pt>
                <c:pt idx="41">
                  <c:v>#N/A</c:v>
                </c:pt>
                <c:pt idx="42">
                  <c:v>#N/A</c:v>
                </c:pt>
                <c:pt idx="43">
                  <c:v>0.90170890150406746</c:v>
                </c:pt>
                <c:pt idx="44">
                  <c:v>1.048028435450546</c:v>
                </c:pt>
                <c:pt idx="45">
                  <c:v>0.34420385076843968</c:v>
                </c:pt>
                <c:pt idx="46">
                  <c:v>#N/A</c:v>
                </c:pt>
                <c:pt idx="47">
                  <c:v>#N/A</c:v>
                </c:pt>
                <c:pt idx="48">
                  <c:v>#N/A</c:v>
                </c:pt>
                <c:pt idx="49">
                  <c:v>1.3343675915403637</c:v>
                </c:pt>
                <c:pt idx="50">
                  <c:v>1.0787224336125691</c:v>
                </c:pt>
                <c:pt idx="51">
                  <c:v>0.33774114750629919</c:v>
                </c:pt>
              </c:numCache>
            </c:numRef>
          </c:val>
          <c:smooth val="0"/>
          <c:extLst>
            <c:ext xmlns:c16="http://schemas.microsoft.com/office/drawing/2014/chart" uri="{C3380CC4-5D6E-409C-BE32-E72D297353CC}">
              <c16:uniqueId val="{00000035-AFCA-4943-AA4B-9818CF1C0054}"/>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053849719672747E-4"/>
          <c:y val="6.0063696518519595E-2"/>
          <c:w val="0.95453953634144284"/>
          <c:h val="0.88878250476834464"/>
        </c:manualLayout>
      </c:layout>
      <c:barChart>
        <c:barDir val="col"/>
        <c:grouping val="percentStacked"/>
        <c:varyColors val="0"/>
        <c:ser>
          <c:idx val="1"/>
          <c:order val="1"/>
          <c:tx>
            <c:strRef>
              <c:f>Sheet1!$C$1</c:f>
              <c:strCache>
                <c:ptCount val="1"/>
                <c:pt idx="0">
                  <c:v>bar</c:v>
                </c:pt>
              </c:strCache>
            </c:strRef>
          </c:tx>
          <c:spPr>
            <a:solidFill>
              <a:schemeClr val="bg2"/>
            </a:solidFill>
            <a:ln>
              <a:noFill/>
            </a:ln>
            <a:effectLst/>
          </c:spPr>
          <c:invertIfNegative val="0"/>
          <c:dLbls>
            <c:dLbl>
              <c:idx val="0"/>
              <c:tx>
                <c:rich>
                  <a:bodyPr/>
                  <a:lstStyle/>
                  <a:p>
                    <a:fld id="{1EAA8CDE-0860-4D7D-9216-6B0C6DD9C3A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B2C-A45E-07CB64A14B3B}"/>
                </c:ext>
              </c:extLst>
            </c:dLbl>
            <c:dLbl>
              <c:idx val="1"/>
              <c:tx>
                <c:rich>
                  <a:bodyPr/>
                  <a:lstStyle/>
                  <a:p>
                    <a:fld id="{A43EDF67-913F-4F2E-8BE4-E3A2881E7D3A}"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8EF-4B2C-A45E-07CB64A14B3B}"/>
                </c:ext>
              </c:extLst>
            </c:dLbl>
            <c:dLbl>
              <c:idx val="2"/>
              <c:delete val="1"/>
              <c:extLst>
                <c:ext xmlns:c15="http://schemas.microsoft.com/office/drawing/2012/chart" uri="{CE6537A1-D6FC-4f65-9D91-7224C49458BB}"/>
                <c:ext xmlns:c16="http://schemas.microsoft.com/office/drawing/2014/chart" uri="{C3380CC4-5D6E-409C-BE32-E72D297353CC}">
                  <c16:uniqueId val="{00000002-48EF-4B2C-A45E-07CB64A14B3B}"/>
                </c:ext>
              </c:extLst>
            </c:dLbl>
            <c:dLbl>
              <c:idx val="3"/>
              <c:tx>
                <c:rich>
                  <a:bodyPr/>
                  <a:lstStyle/>
                  <a:p>
                    <a:fld id="{EA107FAC-EBC0-4890-9CBE-B3F0493D714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8EF-4B2C-A45E-07CB64A14B3B}"/>
                </c:ext>
              </c:extLst>
            </c:dLbl>
            <c:dLbl>
              <c:idx val="4"/>
              <c:tx>
                <c:rich>
                  <a:bodyPr/>
                  <a:lstStyle/>
                  <a:p>
                    <a:fld id="{979916B1-E08B-4D77-A904-BD2B5EEE2E11}"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8EF-4B2C-A45E-07CB64A14B3B}"/>
                </c:ext>
              </c:extLst>
            </c:dLbl>
            <c:dLbl>
              <c:idx val="5"/>
              <c:tx>
                <c:rich>
                  <a:bodyPr/>
                  <a:lstStyle/>
                  <a:p>
                    <a:fld id="{65329FA4-19CE-4F5F-A9EC-6315C72DB69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8EF-4B2C-A45E-07CB64A14B3B}"/>
                </c:ext>
              </c:extLst>
            </c:dLbl>
            <c:dLbl>
              <c:idx val="6"/>
              <c:tx>
                <c:rich>
                  <a:bodyPr/>
                  <a:lstStyle/>
                  <a:p>
                    <a:fld id="{0777DA15-108E-417E-B283-503EAC2027EE}"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B2C-A45E-07CB64A14B3B}"/>
                </c:ext>
              </c:extLst>
            </c:dLbl>
            <c:dLbl>
              <c:idx val="7"/>
              <c:tx>
                <c:rich>
                  <a:bodyPr/>
                  <a:lstStyle/>
                  <a:p>
                    <a:fld id="{AAC79965-7CD1-4F3B-A21F-3C7D5BED4874}"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B2C-A45E-07CB64A14B3B}"/>
                </c:ext>
              </c:extLst>
            </c:dLbl>
            <c:dLbl>
              <c:idx val="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8-48EF-4B2C-A45E-07CB64A14B3B}"/>
                </c:ext>
              </c:extLst>
            </c:dLbl>
            <c:dLbl>
              <c:idx val="9"/>
              <c:tx>
                <c:rich>
                  <a:bodyPr/>
                  <a:lstStyle/>
                  <a:p>
                    <a:fld id="{7CDFF339-EEF3-45AA-B972-C292AFE8F0AF}"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48EF-4B2C-A45E-07CB64A14B3B}"/>
                </c:ext>
              </c:extLst>
            </c:dLbl>
            <c:dLbl>
              <c:idx val="1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48EF-4B2C-A45E-07CB64A14B3B}"/>
                </c:ext>
              </c:extLst>
            </c:dLbl>
            <c:dLbl>
              <c:idx val="1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48EF-4B2C-A45E-07CB64A14B3B}"/>
                </c:ext>
              </c:extLst>
            </c:dLbl>
            <c:dLbl>
              <c:idx val="12"/>
              <c:tx>
                <c:rich>
                  <a:bodyPr/>
                  <a:lstStyle/>
                  <a:p>
                    <a:fld id="{8CA99EA7-23D4-42D5-91E3-2453E9A37B17}"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48EF-4B2C-A45E-07CB64A14B3B}"/>
                </c:ext>
              </c:extLst>
            </c:dLbl>
            <c:dLbl>
              <c:idx val="13"/>
              <c:tx>
                <c:rich>
                  <a:bodyPr/>
                  <a:lstStyle/>
                  <a:p>
                    <a:fld id="{5F254BEB-D4ED-43CE-8012-01C887C07571}"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48EF-4B2C-A45E-07CB64A14B3B}"/>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E-48EF-4B2C-A45E-07CB64A14B3B}"/>
                </c:ext>
              </c:extLst>
            </c:dLbl>
            <c:dLbl>
              <c:idx val="15"/>
              <c:tx>
                <c:rich>
                  <a:bodyPr/>
                  <a:lstStyle/>
                  <a:p>
                    <a:fld id="{E05A8D47-948E-4EAF-AD68-34517C6E7F51}"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48EF-4B2C-A45E-07CB64A14B3B}"/>
                </c:ext>
              </c:extLst>
            </c:dLbl>
            <c:dLbl>
              <c:idx val="16"/>
              <c:tx>
                <c:rich>
                  <a:bodyPr/>
                  <a:lstStyle/>
                  <a:p>
                    <a:fld id="{4DF96B97-2941-4BA1-A70A-24411D7A501E}"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48EF-4B2C-A45E-07CB64A14B3B}"/>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48EF-4B2C-A45E-07CB64A14B3B}"/>
                </c:ext>
              </c:extLst>
            </c:dLbl>
            <c:dLbl>
              <c:idx val="18"/>
              <c:tx>
                <c:rich>
                  <a:bodyPr/>
                  <a:lstStyle/>
                  <a:p>
                    <a:fld id="{2344AE27-6BB8-4971-98EF-4503BC4B444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48EF-4B2C-A45E-07CB64A14B3B}"/>
                </c:ext>
              </c:extLst>
            </c:dLbl>
            <c:dLbl>
              <c:idx val="19"/>
              <c:tx>
                <c:rich>
                  <a:bodyPr/>
                  <a:lstStyle/>
                  <a:p>
                    <a:fld id="{4CFE03C3-B060-4D8E-9559-439EE88D9CD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48EF-4B2C-A45E-07CB64A14B3B}"/>
                </c:ext>
              </c:extLst>
            </c:dLbl>
            <c:dLbl>
              <c:idx val="20"/>
              <c:tx>
                <c:rich>
                  <a:bodyPr/>
                  <a:lstStyle/>
                  <a:p>
                    <a:fld id="{2EB1AC6E-3740-4F28-9879-77A47A22C574}"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48EF-4B2C-A45E-07CB64A14B3B}"/>
                </c:ext>
              </c:extLst>
            </c:dLbl>
            <c:dLbl>
              <c:idx val="21"/>
              <c:tx>
                <c:rich>
                  <a:bodyPr/>
                  <a:lstStyle/>
                  <a:p>
                    <a:fld id="{324F1A37-C376-458F-B8E3-A1744EC192D2}"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48EF-4B2C-A45E-07CB64A14B3B}"/>
                </c:ext>
              </c:extLst>
            </c:dLbl>
            <c:dLbl>
              <c:idx val="22"/>
              <c:tx>
                <c:rich>
                  <a:bodyPr/>
                  <a:lstStyle/>
                  <a:p>
                    <a:fld id="{6033E379-1E78-4CD0-A00E-3D5FF4AA2EC4}"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48EF-4B2C-A45E-07CB64A14B3B}"/>
                </c:ext>
              </c:extLst>
            </c:dLbl>
            <c:dLbl>
              <c:idx val="23"/>
              <c:tx>
                <c:rich>
                  <a:bodyPr/>
                  <a:lstStyle/>
                  <a:p>
                    <a:fld id="{4518CBF7-9616-4EC2-8912-8C67390163B7}"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48EF-4B2C-A45E-07CB64A14B3B}"/>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48EF-4B2C-A45E-07CB64A14B3B}"/>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48EF-4B2C-A45E-07CB64A14B3B}"/>
                </c:ext>
              </c:extLst>
            </c:dLbl>
            <c:dLbl>
              <c:idx val="26"/>
              <c:tx>
                <c:rich>
                  <a:bodyPr/>
                  <a:lstStyle/>
                  <a:p>
                    <a:fld id="{D377E937-B99C-4666-A62F-CCF9433F02DA}"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48EF-4B2C-A45E-07CB64A14B3B}"/>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B-48EF-4B2C-A45E-07CB64A14B3B}"/>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C-48EF-4B2C-A45E-07CB64A14B3B}"/>
                </c:ext>
              </c:extLst>
            </c:dLbl>
            <c:dLbl>
              <c:idx val="29"/>
              <c:tx>
                <c:rich>
                  <a:bodyPr/>
                  <a:lstStyle/>
                  <a:p>
                    <a:fld id="{34F7F8EF-F58E-4413-94DA-64F21F86C797}"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8EF-4B2C-A45E-07CB64A14B3B}"/>
                </c:ext>
              </c:extLst>
            </c:dLbl>
            <c:dLbl>
              <c:idx val="30"/>
              <c:tx>
                <c:rich>
                  <a:bodyPr/>
                  <a:lstStyle/>
                  <a:p>
                    <a:fld id="{A4BC58AE-7E48-40E8-8521-4E63104F5F8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48EF-4B2C-A45E-07CB64A14B3B}"/>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F-48EF-4B2C-A45E-07CB64A14B3B}"/>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0-48EF-4B2C-A45E-07CB64A14B3B}"/>
                </c:ext>
              </c:extLst>
            </c:dLbl>
            <c:dLbl>
              <c:idx val="33"/>
              <c:tx>
                <c:rich>
                  <a:bodyPr/>
                  <a:lstStyle/>
                  <a:p>
                    <a:fld id="{F373058B-174C-49C3-9F7B-0FC255F62CE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48EF-4B2C-A45E-07CB64A14B3B}"/>
                </c:ext>
              </c:extLst>
            </c:dLbl>
            <c:dLbl>
              <c:idx val="34"/>
              <c:tx>
                <c:rich>
                  <a:bodyPr/>
                  <a:lstStyle/>
                  <a:p>
                    <a:fld id="{F6017106-9EC9-425E-B7F2-B9E37E58707B}"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48EF-4B2C-A45E-07CB64A14B3B}"/>
                </c:ext>
              </c:extLst>
            </c:dLbl>
            <c:dLbl>
              <c:idx val="35"/>
              <c:tx>
                <c:rich>
                  <a:bodyPr/>
                  <a:lstStyle/>
                  <a:p>
                    <a:fld id="{BFFF46F5-FD94-432B-B048-920B743B0333}"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48EF-4B2C-A45E-07CB64A14B3B}"/>
                </c:ext>
              </c:extLst>
            </c:dLbl>
            <c:dLbl>
              <c:idx val="36"/>
              <c:tx>
                <c:rich>
                  <a:bodyPr/>
                  <a:lstStyle/>
                  <a:p>
                    <a:fld id="{B3A7D4E7-C98D-47F1-BE84-C005E62E4164}"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48EF-4B2C-A45E-07CB64A14B3B}"/>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5-48EF-4B2C-A45E-07CB64A14B3B}"/>
                </c:ext>
              </c:extLst>
            </c:dLbl>
            <c:dLbl>
              <c:idx val="38"/>
              <c:tx>
                <c:rich>
                  <a:bodyPr/>
                  <a:lstStyle/>
                  <a:p>
                    <a:fld id="{2BA89993-A1C7-48A6-8235-57EF59B16824}"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48EF-4B2C-A45E-07CB64A14B3B}"/>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7-48EF-4B2C-A45E-07CB64A14B3B}"/>
                </c:ext>
              </c:extLst>
            </c:dLbl>
            <c:dLbl>
              <c:idx val="40"/>
              <c:tx>
                <c:rich>
                  <a:bodyPr/>
                  <a:lstStyle/>
                  <a:p>
                    <a:fld id="{59C62FD6-9D17-44EB-954E-ADA0CB7979F1}"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48EF-4B2C-A45E-07CB64A14B3B}"/>
                </c:ext>
              </c:extLst>
            </c:dLbl>
            <c:dLbl>
              <c:idx val="41"/>
              <c:tx>
                <c:rich>
                  <a:bodyPr/>
                  <a:lstStyle/>
                  <a:p>
                    <a:fld id="{C6845B4C-674E-4483-8BF5-222D2BD826F2}"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48EF-4B2C-A45E-07CB64A14B3B}"/>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48EF-4B2C-A45E-07CB64A14B3B}"/>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B-48EF-4B2C-A45E-07CB64A14B3B}"/>
                </c:ext>
              </c:extLst>
            </c:dLbl>
            <c:dLbl>
              <c:idx val="44"/>
              <c:tx>
                <c:rich>
                  <a:bodyPr/>
                  <a:lstStyle/>
                  <a:p>
                    <a:fld id="{C6A7E99E-2014-4B15-B6C4-5E8D30B0239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48EF-4B2C-A45E-07CB64A14B3B}"/>
                </c:ext>
              </c:extLst>
            </c:dLbl>
            <c:dLbl>
              <c:idx val="45"/>
              <c:tx>
                <c:rich>
                  <a:bodyPr/>
                  <a:lstStyle/>
                  <a:p>
                    <a:fld id="{04C8D733-C7E2-4643-B52B-4102FAFEBA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48EF-4B2C-A45E-07CB64A14B3B}"/>
                </c:ext>
              </c:extLst>
            </c:dLbl>
            <c:dLbl>
              <c:idx val="46"/>
              <c:tx>
                <c:rich>
                  <a:bodyPr/>
                  <a:lstStyle/>
                  <a:p>
                    <a:fld id="{38711D06-C3E3-43F8-A46D-616F77B1B9D7}"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48EF-4B2C-A45E-07CB64A14B3B}"/>
                </c:ext>
              </c:extLst>
            </c:dLbl>
            <c:dLbl>
              <c:idx val="47"/>
              <c:tx>
                <c:rich>
                  <a:bodyPr/>
                  <a:lstStyle/>
                  <a:p>
                    <a:fld id="{D099864E-01AD-40A8-AD4C-87B91ED786C3}"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48EF-4B2C-A45E-07CB64A14B3B}"/>
                </c:ext>
              </c:extLst>
            </c:dLbl>
            <c:dLbl>
              <c:idx val="48"/>
              <c:tx>
                <c:rich>
                  <a:bodyPr/>
                  <a:lstStyle/>
                  <a:p>
                    <a:fld id="{C516F129-A3F1-4959-8C36-696E5F1F64F1}"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48EF-4B2C-A45E-07CB64A14B3B}"/>
                </c:ext>
              </c:extLst>
            </c:dLbl>
            <c:dLbl>
              <c:idx val="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1-48EF-4B2C-A45E-07CB64A14B3B}"/>
                </c:ext>
              </c:extLst>
            </c:dLbl>
            <c:dLbl>
              <c:idx val="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2-48EF-4B2C-A45E-07CB64A14B3B}"/>
                </c:ext>
              </c:extLst>
            </c:dLbl>
            <c:dLbl>
              <c:idx val="51"/>
              <c:tx>
                <c:rich>
                  <a:bodyPr/>
                  <a:lstStyle/>
                  <a:p>
                    <a:fld id="{1EE7D7AD-8383-475B-A93B-4B3C1692E42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48EF-4B2C-A45E-07CB64A14B3B}"/>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c:formatCode>
                <c:ptCount val="52"/>
                <c:pt idx="0">
                  <c:v>1</c:v>
                </c:pt>
                <c:pt idx="1">
                  <c:v>1</c:v>
                </c:pt>
                <c:pt idx="2">
                  <c:v>1</c:v>
                </c:pt>
                <c:pt idx="3">
                  <c:v>1</c:v>
                </c:pt>
                <c:pt idx="4">
                  <c:v>1</c:v>
                </c:pt>
                <c:pt idx="5">
                  <c:v>1</c:v>
                </c:pt>
                <c:pt idx="6">
                  <c:v>1</c:v>
                </c:pt>
                <c:pt idx="7">
                  <c:v>1</c:v>
                </c:pt>
                <c:pt idx="8">
                  <c:v>#N/A</c:v>
                </c:pt>
                <c:pt idx="9">
                  <c:v>1</c:v>
                </c:pt>
                <c:pt idx="10">
                  <c:v>#N/A</c:v>
                </c:pt>
                <c:pt idx="11">
                  <c:v>#N/A</c:v>
                </c:pt>
                <c:pt idx="12">
                  <c:v>1</c:v>
                </c:pt>
                <c:pt idx="13">
                  <c:v>1</c:v>
                </c:pt>
                <c:pt idx="14">
                  <c:v>#N/A</c:v>
                </c:pt>
                <c:pt idx="15">
                  <c:v>1</c:v>
                </c:pt>
                <c:pt idx="16">
                  <c:v>1</c:v>
                </c:pt>
                <c:pt idx="17">
                  <c:v>#N/A</c:v>
                </c:pt>
                <c:pt idx="18">
                  <c:v>1</c:v>
                </c:pt>
                <c:pt idx="19">
                  <c:v>1</c:v>
                </c:pt>
                <c:pt idx="20">
                  <c:v>1</c:v>
                </c:pt>
                <c:pt idx="21">
                  <c:v>1</c:v>
                </c:pt>
                <c:pt idx="22">
                  <c:v>1</c:v>
                </c:pt>
                <c:pt idx="23">
                  <c:v>1</c:v>
                </c:pt>
                <c:pt idx="24">
                  <c:v>#N/A</c:v>
                </c:pt>
                <c:pt idx="25">
                  <c:v>#N/A</c:v>
                </c:pt>
                <c:pt idx="26">
                  <c:v>1</c:v>
                </c:pt>
                <c:pt idx="27">
                  <c:v>#N/A</c:v>
                </c:pt>
                <c:pt idx="28">
                  <c:v>#N/A</c:v>
                </c:pt>
                <c:pt idx="29">
                  <c:v>1</c:v>
                </c:pt>
                <c:pt idx="30">
                  <c:v>1</c:v>
                </c:pt>
                <c:pt idx="31">
                  <c:v>#N/A</c:v>
                </c:pt>
                <c:pt idx="32">
                  <c:v>#N/A</c:v>
                </c:pt>
                <c:pt idx="33">
                  <c:v>1</c:v>
                </c:pt>
                <c:pt idx="34">
                  <c:v>1</c:v>
                </c:pt>
                <c:pt idx="35">
                  <c:v>1</c:v>
                </c:pt>
                <c:pt idx="36">
                  <c:v>1</c:v>
                </c:pt>
                <c:pt idx="37">
                  <c:v>#N/A</c:v>
                </c:pt>
                <c:pt idx="38">
                  <c:v>1</c:v>
                </c:pt>
                <c:pt idx="39">
                  <c:v>#N/A</c:v>
                </c:pt>
                <c:pt idx="40">
                  <c:v>1</c:v>
                </c:pt>
                <c:pt idx="41">
                  <c:v>1</c:v>
                </c:pt>
                <c:pt idx="42">
                  <c:v>#N/A</c:v>
                </c:pt>
                <c:pt idx="43">
                  <c:v>#N/A</c:v>
                </c:pt>
                <c:pt idx="44">
                  <c:v>1</c:v>
                </c:pt>
                <c:pt idx="45">
                  <c:v>1</c:v>
                </c:pt>
                <c:pt idx="46">
                  <c:v>1</c:v>
                </c:pt>
                <c:pt idx="47">
                  <c:v>1</c:v>
                </c:pt>
                <c:pt idx="48">
                  <c:v>1</c:v>
                </c:pt>
                <c:pt idx="49">
                  <c:v>#N/A</c:v>
                </c:pt>
                <c:pt idx="50">
                  <c:v>#N/A</c:v>
                </c:pt>
                <c:pt idx="51">
                  <c:v>1</c:v>
                </c:pt>
              </c:numCache>
            </c:numRef>
          </c:val>
          <c:extLst>
            <c:ext xmlns:c15="http://schemas.microsoft.com/office/drawing/2012/chart" uri="{02D57815-91ED-43cb-92C2-25804820EDAC}">
              <c15:datalabelsRange>
                <c15:f>Sheet1!$G$2:$G$53</c15:f>
                <c15:dlblRangeCache>
                  <c:ptCount val="52"/>
                  <c:pt idx="2">
                    <c:v>244%</c:v>
                  </c:pt>
                  <c:pt idx="45">
                    <c:v>209%</c:v>
                  </c:pt>
                </c15:dlblRangeCache>
              </c15:datalabelsRange>
            </c:ext>
            <c:ext xmlns:c16="http://schemas.microsoft.com/office/drawing/2014/chart" uri="{C3380CC4-5D6E-409C-BE32-E72D297353CC}">
              <c16:uniqueId val="{00000034-48EF-4B2C-A45E-07CB64A14B3B}"/>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bubble</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c:formatCode>
                <c:ptCount val="52"/>
                <c:pt idx="0">
                  <c:v>0.83149283462587276</c:v>
                </c:pt>
                <c:pt idx="1">
                  <c:v>1.6315180743925193</c:v>
                </c:pt>
                <c:pt idx="2">
                  <c:v>2.4439356076015577</c:v>
                </c:pt>
                <c:pt idx="3">
                  <c:v>0.77292587642644184</c:v>
                </c:pt>
                <c:pt idx="4">
                  <c:v>0.74765866355299326</c:v>
                </c:pt>
                <c:pt idx="5">
                  <c:v>0.98081754103558449</c:v>
                </c:pt>
                <c:pt idx="6">
                  <c:v>0.70833026532165033</c:v>
                </c:pt>
                <c:pt idx="7">
                  <c:v>0.84407908755481287</c:v>
                </c:pt>
                <c:pt idx="8">
                  <c:v>#N/A</c:v>
                </c:pt>
                <c:pt idx="9">
                  <c:v>#N/A</c:v>
                </c:pt>
                <c:pt idx="10">
                  <c:v>#N/A</c:v>
                </c:pt>
                <c:pt idx="11">
                  <c:v>#N/A</c:v>
                </c:pt>
                <c:pt idx="12">
                  <c:v>#N/A</c:v>
                </c:pt>
                <c:pt idx="13">
                  <c:v>#N/A</c:v>
                </c:pt>
                <c:pt idx="14">
                  <c:v>#N/A</c:v>
                </c:pt>
                <c:pt idx="15">
                  <c:v>0.8725708042279976</c:v>
                </c:pt>
                <c:pt idx="16">
                  <c:v>0.4577243728236281</c:v>
                </c:pt>
                <c:pt idx="17">
                  <c:v>#N/A</c:v>
                </c:pt>
                <c:pt idx="18">
                  <c:v>0.15218560397131825</c:v>
                </c:pt>
                <c:pt idx="19">
                  <c:v>0.3636835009851706</c:v>
                </c:pt>
                <c:pt idx="20">
                  <c:v>0.23195425066291811</c:v>
                </c:pt>
                <c:pt idx="21">
                  <c:v>0.85483845584879525</c:v>
                </c:pt>
                <c:pt idx="22">
                  <c:v>0.3003459533206646</c:v>
                </c:pt>
                <c:pt idx="23">
                  <c:v>0.33698879958684352</c:v>
                </c:pt>
                <c:pt idx="24">
                  <c:v>#N/A</c:v>
                </c:pt>
                <c:pt idx="25">
                  <c:v>#N/A</c:v>
                </c:pt>
                <c:pt idx="26">
                  <c:v>0.47679126329628302</c:v>
                </c:pt>
                <c:pt idx="27">
                  <c:v>#N/A</c:v>
                </c:pt>
                <c:pt idx="28">
                  <c:v>#N/A</c:v>
                </c:pt>
                <c:pt idx="29">
                  <c:v>0.86927040954705725</c:v>
                </c:pt>
                <c:pt idx="30">
                  <c:v>7.1587946883100939E-2</c:v>
                </c:pt>
                <c:pt idx="31">
                  <c:v>#N/A</c:v>
                </c:pt>
                <c:pt idx="32">
                  <c:v>#N/A</c:v>
                </c:pt>
                <c:pt idx="33">
                  <c:v>0.91374133318774908</c:v>
                </c:pt>
                <c:pt idx="34">
                  <c:v>#N/A</c:v>
                </c:pt>
                <c:pt idx="35">
                  <c:v>#N/A</c:v>
                </c:pt>
                <c:pt idx="36">
                  <c:v>#N/A</c:v>
                </c:pt>
                <c:pt idx="37">
                  <c:v>#N/A</c:v>
                </c:pt>
                <c:pt idx="38">
                  <c:v>0.2039582880232598</c:v>
                </c:pt>
                <c:pt idx="39">
                  <c:v>#N/A</c:v>
                </c:pt>
                <c:pt idx="40">
                  <c:v>0.81834423418520841</c:v>
                </c:pt>
                <c:pt idx="41">
                  <c:v>0.24170478834974729</c:v>
                </c:pt>
                <c:pt idx="42">
                  <c:v>#N/A</c:v>
                </c:pt>
                <c:pt idx="43">
                  <c:v>#N/A</c:v>
                </c:pt>
                <c:pt idx="44">
                  <c:v>0.54761466764778022</c:v>
                </c:pt>
                <c:pt idx="45">
                  <c:v>2.0907701528318849</c:v>
                </c:pt>
                <c:pt idx="46">
                  <c:v>0.32255425519827291</c:v>
                </c:pt>
                <c:pt idx="47">
                  <c:v>0.60169518129022137</c:v>
                </c:pt>
                <c:pt idx="48">
                  <c:v>#N/A</c:v>
                </c:pt>
                <c:pt idx="49">
                  <c:v>#N/A</c:v>
                </c:pt>
                <c:pt idx="50">
                  <c:v>#N/A</c:v>
                </c:pt>
                <c:pt idx="51">
                  <c:v>0.47447486087432045</c:v>
                </c:pt>
              </c:numCache>
            </c:numRef>
          </c:val>
          <c:smooth val="0"/>
          <c:extLst>
            <c:ext xmlns:c16="http://schemas.microsoft.com/office/drawing/2014/chart" uri="{C3380CC4-5D6E-409C-BE32-E72D297353CC}">
              <c16:uniqueId val="{00000035-48EF-4B2C-A45E-07CB64A14B3B}"/>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36301826714690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c:formatCode>
                <c:ptCount val="52"/>
                <c:pt idx="0">
                  <c:v>#N/A</c:v>
                </c:pt>
                <c:pt idx="1">
                  <c:v>#N/A</c:v>
                </c:pt>
                <c:pt idx="2">
                  <c:v>1</c:v>
                </c:pt>
                <c:pt idx="3">
                  <c:v>1</c:v>
                </c:pt>
                <c:pt idx="4">
                  <c:v>1</c:v>
                </c:pt>
                <c:pt idx="5">
                  <c:v>1</c:v>
                </c:pt>
                <c:pt idx="6">
                  <c:v>1</c:v>
                </c:pt>
                <c:pt idx="7">
                  <c:v>1</c:v>
                </c:pt>
                <c:pt idx="8">
                  <c:v>1</c:v>
                </c:pt>
                <c:pt idx="9">
                  <c:v>1</c:v>
                </c:pt>
                <c:pt idx="10">
                  <c:v>1</c:v>
                </c:pt>
                <c:pt idx="11">
                  <c:v>1</c:v>
                </c:pt>
                <c:pt idx="12">
                  <c:v>1</c:v>
                </c:pt>
                <c:pt idx="13">
                  <c:v>1</c:v>
                </c:pt>
                <c:pt idx="14">
                  <c:v>1</c:v>
                </c:pt>
                <c:pt idx="15">
                  <c:v>#N/A</c:v>
                </c:pt>
                <c:pt idx="16">
                  <c:v>#N/A</c:v>
                </c:pt>
                <c:pt idx="17">
                  <c:v>#N/A</c:v>
                </c:pt>
                <c:pt idx="18">
                  <c:v>#N/A</c:v>
                </c:pt>
                <c:pt idx="19">
                  <c:v>#N/A</c:v>
                </c:pt>
                <c:pt idx="20">
                  <c:v>#N/A</c:v>
                </c:pt>
                <c:pt idx="21">
                  <c:v>#N/A</c:v>
                </c:pt>
                <c:pt idx="22">
                  <c:v>1</c:v>
                </c:pt>
                <c:pt idx="23">
                  <c:v>1</c:v>
                </c:pt>
                <c:pt idx="24">
                  <c:v>1</c:v>
                </c:pt>
                <c:pt idx="25">
                  <c:v>#N/A</c:v>
                </c:pt>
                <c:pt idx="26">
                  <c:v>#N/A</c:v>
                </c:pt>
                <c:pt idx="27">
                  <c:v>#N/A</c:v>
                </c:pt>
                <c:pt idx="28">
                  <c:v>#N/A</c:v>
                </c:pt>
                <c:pt idx="29">
                  <c:v>#N/A</c:v>
                </c:pt>
                <c:pt idx="30">
                  <c:v>#N/A</c:v>
                </c:pt>
                <c:pt idx="31">
                  <c:v>#N/A</c:v>
                </c:pt>
                <c:pt idx="32">
                  <c:v>#N/A</c:v>
                </c:pt>
                <c:pt idx="33">
                  <c:v>#N/A</c:v>
                </c:pt>
                <c:pt idx="34">
                  <c:v>1</c:v>
                </c:pt>
                <c:pt idx="35">
                  <c:v>#N/A</c:v>
                </c:pt>
                <c:pt idx="36">
                  <c:v>#N/A</c:v>
                </c:pt>
                <c:pt idx="37">
                  <c:v>#N/A</c:v>
                </c:pt>
                <c:pt idx="38">
                  <c:v>#N/A</c:v>
                </c:pt>
                <c:pt idx="39">
                  <c:v>1</c:v>
                </c:pt>
                <c:pt idx="40">
                  <c:v>1</c:v>
                </c:pt>
                <c:pt idx="41">
                  <c:v>1</c:v>
                </c:pt>
                <c:pt idx="42">
                  <c:v>1</c:v>
                </c:pt>
                <c:pt idx="43">
                  <c:v>1</c:v>
                </c:pt>
                <c:pt idx="44">
                  <c:v>#N/A</c:v>
                </c:pt>
                <c:pt idx="45">
                  <c:v>#N/A</c:v>
                </c:pt>
                <c:pt idx="46">
                  <c:v>#N/A</c:v>
                </c:pt>
                <c:pt idx="47">
                  <c:v>#N/A</c:v>
                </c:pt>
                <c:pt idx="48">
                  <c:v>#N/A</c:v>
                </c:pt>
                <c:pt idx="49">
                  <c:v>#N/A</c:v>
                </c:pt>
                <c:pt idx="50">
                  <c:v>#N/A</c:v>
                </c:pt>
                <c:pt idx="51">
                  <c:v>#N/A</c:v>
                </c:pt>
              </c:numCache>
            </c:numRef>
          </c:val>
          <c:extLst>
            <c:ext xmlns:c16="http://schemas.microsoft.com/office/drawing/2014/chart" uri="{C3380CC4-5D6E-409C-BE32-E72D297353CC}">
              <c16:uniqueId val="{00000000-1DD4-432D-86DC-6E7EECD7DC7B}"/>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c:formatCode>
                <c:ptCount val="52"/>
                <c:pt idx="0">
                  <c:v>#N/A</c:v>
                </c:pt>
                <c:pt idx="1">
                  <c:v>#N/A</c:v>
                </c:pt>
                <c:pt idx="2">
                  <c:v>0.11367872175570121</c:v>
                </c:pt>
                <c:pt idx="3">
                  <c:v>0.12132533378739771</c:v>
                </c:pt>
                <c:pt idx="4">
                  <c:v>0.2148614964962611</c:v>
                </c:pt>
                <c:pt idx="5">
                  <c:v>0.17336822212530892</c:v>
                </c:pt>
                <c:pt idx="6">
                  <c:v>0.16371495760272436</c:v>
                </c:pt>
                <c:pt idx="7">
                  <c:v>0.359005905511811</c:v>
                </c:pt>
                <c:pt idx="8">
                  <c:v>0.35807339627396623</c:v>
                </c:pt>
                <c:pt idx="9">
                  <c:v>0.3262485253637436</c:v>
                </c:pt>
                <c:pt idx="10">
                  <c:v>0.18571348293560108</c:v>
                </c:pt>
                <c:pt idx="11">
                  <c:v>0.14821256608297467</c:v>
                </c:pt>
                <c:pt idx="12">
                  <c:v>0.11874984490930296</c:v>
                </c:pt>
                <c:pt idx="13">
                  <c:v>0.26535114062005177</c:v>
                </c:pt>
                <c:pt idx="14">
                  <c:v>#N/A</c:v>
                </c:pt>
                <c:pt idx="15">
                  <c:v>#N/A</c:v>
                </c:pt>
                <c:pt idx="16">
                  <c:v>#N/A</c:v>
                </c:pt>
                <c:pt idx="17">
                  <c:v>#N/A</c:v>
                </c:pt>
                <c:pt idx="18">
                  <c:v>#N/A</c:v>
                </c:pt>
                <c:pt idx="19">
                  <c:v>#N/A</c:v>
                </c:pt>
                <c:pt idx="20">
                  <c:v>#N/A</c:v>
                </c:pt>
                <c:pt idx="21">
                  <c:v>#N/A</c:v>
                </c:pt>
                <c:pt idx="22">
                  <c:v>0.40337942434339991</c:v>
                </c:pt>
                <c:pt idx="23">
                  <c:v>0.48057218130862606</c:v>
                </c:pt>
                <c:pt idx="24">
                  <c:v>8.1719681066375477E-2</c:v>
                </c:pt>
                <c:pt idx="25">
                  <c:v>#N/A</c:v>
                </c:pt>
                <c:pt idx="26">
                  <c:v>#N/A</c:v>
                </c:pt>
                <c:pt idx="27">
                  <c:v>#N/A</c:v>
                </c:pt>
                <c:pt idx="28">
                  <c:v>#N/A</c:v>
                </c:pt>
                <c:pt idx="29">
                  <c:v>#N/A</c:v>
                </c:pt>
                <c:pt idx="30">
                  <c:v>#N/A</c:v>
                </c:pt>
                <c:pt idx="31">
                  <c:v>#N/A</c:v>
                </c:pt>
                <c:pt idx="32">
                  <c:v>#N/A</c:v>
                </c:pt>
                <c:pt idx="33">
                  <c:v>#N/A</c:v>
                </c:pt>
                <c:pt idx="34">
                  <c:v>0.14244945048272512</c:v>
                </c:pt>
                <c:pt idx="35">
                  <c:v>#N/A</c:v>
                </c:pt>
                <c:pt idx="36">
                  <c:v>#N/A</c:v>
                </c:pt>
                <c:pt idx="37">
                  <c:v>#N/A</c:v>
                </c:pt>
                <c:pt idx="38">
                  <c:v>#N/A</c:v>
                </c:pt>
                <c:pt idx="39">
                  <c:v>#N/A</c:v>
                </c:pt>
                <c:pt idx="40">
                  <c:v>#N/A</c:v>
                </c:pt>
                <c:pt idx="41">
                  <c:v>0.47272657381187294</c:v>
                </c:pt>
                <c:pt idx="42">
                  <c:v>0.62001930605459321</c:v>
                </c:pt>
                <c:pt idx="43">
                  <c:v>0.40657862283907709</c:v>
                </c:pt>
                <c:pt idx="44">
                  <c:v>#N/A</c:v>
                </c:pt>
                <c:pt idx="45">
                  <c:v>#N/A</c:v>
                </c:pt>
                <c:pt idx="46">
                  <c:v>#N/A</c:v>
                </c:pt>
                <c:pt idx="47">
                  <c:v>#N/A</c:v>
                </c:pt>
                <c:pt idx="48">
                  <c:v>#N/A</c:v>
                </c:pt>
                <c:pt idx="49">
                  <c:v>#N/A</c:v>
                </c:pt>
                <c:pt idx="50">
                  <c:v>#N/A</c:v>
                </c:pt>
                <c:pt idx="51">
                  <c:v>#N/A</c:v>
                </c:pt>
              </c:numCache>
            </c:numRef>
          </c:val>
          <c:smooth val="0"/>
          <c:extLst>
            <c:ext xmlns:c16="http://schemas.microsoft.com/office/drawing/2014/chart" uri="{C3380CC4-5D6E-409C-BE32-E72D297353CC}">
              <c16:uniqueId val="{00000001-1DD4-432D-86DC-6E7EECD7DC7B}"/>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36301826714690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c:formatCode>
                <c:ptCount val="52"/>
                <c:pt idx="0">
                  <c:v>#N/A</c:v>
                </c:pt>
                <c:pt idx="1">
                  <c:v>#N/A</c:v>
                </c:pt>
                <c:pt idx="2">
                  <c:v>1</c:v>
                </c:pt>
                <c:pt idx="3">
                  <c:v>1</c:v>
                </c:pt>
                <c:pt idx="4">
                  <c:v>1</c:v>
                </c:pt>
                <c:pt idx="5">
                  <c:v>1</c:v>
                </c:pt>
                <c:pt idx="6">
                  <c:v>1</c:v>
                </c:pt>
                <c:pt idx="7">
                  <c:v>1</c:v>
                </c:pt>
                <c:pt idx="8">
                  <c:v>1</c:v>
                </c:pt>
                <c:pt idx="9">
                  <c:v>1</c:v>
                </c:pt>
                <c:pt idx="10">
                  <c:v>1</c:v>
                </c:pt>
                <c:pt idx="11">
                  <c:v>1</c:v>
                </c:pt>
                <c:pt idx="12">
                  <c:v>1</c:v>
                </c:pt>
                <c:pt idx="13">
                  <c:v>1</c:v>
                </c:pt>
                <c:pt idx="14">
                  <c:v>1</c:v>
                </c:pt>
                <c:pt idx="15">
                  <c:v>#N/A</c:v>
                </c:pt>
                <c:pt idx="16">
                  <c:v>#N/A</c:v>
                </c:pt>
                <c:pt idx="17">
                  <c:v>#N/A</c:v>
                </c:pt>
                <c:pt idx="18">
                  <c:v>#N/A</c:v>
                </c:pt>
                <c:pt idx="19">
                  <c:v>#N/A</c:v>
                </c:pt>
                <c:pt idx="20">
                  <c:v>#N/A</c:v>
                </c:pt>
                <c:pt idx="21">
                  <c:v>#N/A</c:v>
                </c:pt>
                <c:pt idx="22">
                  <c:v>1</c:v>
                </c:pt>
                <c:pt idx="23">
                  <c:v>1</c:v>
                </c:pt>
                <c:pt idx="24">
                  <c:v>1</c:v>
                </c:pt>
                <c:pt idx="25">
                  <c:v>#N/A</c:v>
                </c:pt>
                <c:pt idx="26">
                  <c:v>#N/A</c:v>
                </c:pt>
                <c:pt idx="27">
                  <c:v>#N/A</c:v>
                </c:pt>
                <c:pt idx="28">
                  <c:v>#N/A</c:v>
                </c:pt>
                <c:pt idx="29">
                  <c:v>#N/A</c:v>
                </c:pt>
                <c:pt idx="30">
                  <c:v>#N/A</c:v>
                </c:pt>
                <c:pt idx="31">
                  <c:v>#N/A</c:v>
                </c:pt>
                <c:pt idx="32">
                  <c:v>#N/A</c:v>
                </c:pt>
                <c:pt idx="33">
                  <c:v>#N/A</c:v>
                </c:pt>
                <c:pt idx="34">
                  <c:v>1</c:v>
                </c:pt>
                <c:pt idx="35">
                  <c:v>#N/A</c:v>
                </c:pt>
                <c:pt idx="36">
                  <c:v>#N/A</c:v>
                </c:pt>
                <c:pt idx="37">
                  <c:v>#N/A</c:v>
                </c:pt>
                <c:pt idx="38">
                  <c:v>#N/A</c:v>
                </c:pt>
                <c:pt idx="39">
                  <c:v>1</c:v>
                </c:pt>
                <c:pt idx="40">
                  <c:v>1</c:v>
                </c:pt>
                <c:pt idx="41">
                  <c:v>1</c:v>
                </c:pt>
                <c:pt idx="42">
                  <c:v>1</c:v>
                </c:pt>
                <c:pt idx="43">
                  <c:v>1</c:v>
                </c:pt>
                <c:pt idx="44">
                  <c:v>#N/A</c:v>
                </c:pt>
                <c:pt idx="45">
                  <c:v>#N/A</c:v>
                </c:pt>
                <c:pt idx="46">
                  <c:v>#N/A</c:v>
                </c:pt>
                <c:pt idx="47">
                  <c:v>#N/A</c:v>
                </c:pt>
                <c:pt idx="48">
                  <c:v>#N/A</c:v>
                </c:pt>
                <c:pt idx="49">
                  <c:v>#N/A</c:v>
                </c:pt>
                <c:pt idx="50">
                  <c:v>#N/A</c:v>
                </c:pt>
                <c:pt idx="51">
                  <c:v>#N/A</c:v>
                </c:pt>
              </c:numCache>
            </c:numRef>
          </c:val>
          <c:extLst>
            <c:ext xmlns:c16="http://schemas.microsoft.com/office/drawing/2014/chart" uri="{C3380CC4-5D6E-409C-BE32-E72D297353CC}">
              <c16:uniqueId val="{00000000-7281-4004-839E-EC8ADA9B4F03}"/>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c:formatCode>
                <c:ptCount val="52"/>
                <c:pt idx="0">
                  <c:v>#N/A</c:v>
                </c:pt>
                <c:pt idx="1">
                  <c:v>#N/A</c:v>
                </c:pt>
                <c:pt idx="2">
                  <c:v>0.11367872175570121</c:v>
                </c:pt>
                <c:pt idx="3">
                  <c:v>0.12132533378739771</c:v>
                </c:pt>
                <c:pt idx="4">
                  <c:v>0.2148614964962611</c:v>
                </c:pt>
                <c:pt idx="5">
                  <c:v>0.17336822212530892</c:v>
                </c:pt>
                <c:pt idx="6">
                  <c:v>0.16371495760272436</c:v>
                </c:pt>
                <c:pt idx="7">
                  <c:v>0.359005905511811</c:v>
                </c:pt>
                <c:pt idx="8">
                  <c:v>0.35807339627396623</c:v>
                </c:pt>
                <c:pt idx="9">
                  <c:v>0.3262485253637436</c:v>
                </c:pt>
                <c:pt idx="10">
                  <c:v>0.18571348293560108</c:v>
                </c:pt>
                <c:pt idx="11">
                  <c:v>0.14821256608297467</c:v>
                </c:pt>
                <c:pt idx="12">
                  <c:v>0.11874984490930296</c:v>
                </c:pt>
                <c:pt idx="13">
                  <c:v>0.26535114062005177</c:v>
                </c:pt>
                <c:pt idx="14">
                  <c:v>#N/A</c:v>
                </c:pt>
                <c:pt idx="15">
                  <c:v>#N/A</c:v>
                </c:pt>
                <c:pt idx="16">
                  <c:v>#N/A</c:v>
                </c:pt>
                <c:pt idx="17">
                  <c:v>#N/A</c:v>
                </c:pt>
                <c:pt idx="18">
                  <c:v>#N/A</c:v>
                </c:pt>
                <c:pt idx="19">
                  <c:v>#N/A</c:v>
                </c:pt>
                <c:pt idx="20">
                  <c:v>#N/A</c:v>
                </c:pt>
                <c:pt idx="21">
                  <c:v>#N/A</c:v>
                </c:pt>
                <c:pt idx="22">
                  <c:v>0.40337942434339991</c:v>
                </c:pt>
                <c:pt idx="23">
                  <c:v>0.48057218130862606</c:v>
                </c:pt>
                <c:pt idx="24">
                  <c:v>8.1719681066375477E-2</c:v>
                </c:pt>
                <c:pt idx="25">
                  <c:v>#N/A</c:v>
                </c:pt>
                <c:pt idx="26">
                  <c:v>#N/A</c:v>
                </c:pt>
                <c:pt idx="27">
                  <c:v>#N/A</c:v>
                </c:pt>
                <c:pt idx="28">
                  <c:v>#N/A</c:v>
                </c:pt>
                <c:pt idx="29">
                  <c:v>#N/A</c:v>
                </c:pt>
                <c:pt idx="30">
                  <c:v>#N/A</c:v>
                </c:pt>
                <c:pt idx="31">
                  <c:v>#N/A</c:v>
                </c:pt>
                <c:pt idx="32">
                  <c:v>#N/A</c:v>
                </c:pt>
                <c:pt idx="33">
                  <c:v>#N/A</c:v>
                </c:pt>
                <c:pt idx="34">
                  <c:v>0.14244945048272512</c:v>
                </c:pt>
                <c:pt idx="35">
                  <c:v>#N/A</c:v>
                </c:pt>
                <c:pt idx="36">
                  <c:v>#N/A</c:v>
                </c:pt>
                <c:pt idx="37">
                  <c:v>#N/A</c:v>
                </c:pt>
                <c:pt idx="38">
                  <c:v>#N/A</c:v>
                </c:pt>
                <c:pt idx="39">
                  <c:v>#N/A</c:v>
                </c:pt>
                <c:pt idx="40">
                  <c:v>#N/A</c:v>
                </c:pt>
                <c:pt idx="41">
                  <c:v>0.47272657381187294</c:v>
                </c:pt>
                <c:pt idx="42">
                  <c:v>0.62001930605459321</c:v>
                </c:pt>
                <c:pt idx="43">
                  <c:v>0.40657862283907709</c:v>
                </c:pt>
                <c:pt idx="44">
                  <c:v>#N/A</c:v>
                </c:pt>
                <c:pt idx="45">
                  <c:v>#N/A</c:v>
                </c:pt>
                <c:pt idx="46">
                  <c:v>#N/A</c:v>
                </c:pt>
                <c:pt idx="47">
                  <c:v>#N/A</c:v>
                </c:pt>
                <c:pt idx="48">
                  <c:v>#N/A</c:v>
                </c:pt>
                <c:pt idx="49">
                  <c:v>#N/A</c:v>
                </c:pt>
                <c:pt idx="50">
                  <c:v>#N/A</c:v>
                </c:pt>
                <c:pt idx="51">
                  <c:v>#N/A</c:v>
                </c:pt>
              </c:numCache>
            </c:numRef>
          </c:val>
          <c:smooth val="0"/>
          <c:extLst>
            <c:ext xmlns:c16="http://schemas.microsoft.com/office/drawing/2014/chart" uri="{C3380CC4-5D6E-409C-BE32-E72D297353CC}">
              <c16:uniqueId val="{00000001-7281-4004-839E-EC8ADA9B4F03}"/>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44275310024208181"/>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dLbls>
            <c:dLbl>
              <c:idx val="0"/>
              <c:tx>
                <c:rich>
                  <a:bodyPr/>
                  <a:lstStyle/>
                  <a:p>
                    <a:fld id="{1F997C32-2B90-45F5-BC3F-20EA736BA304}"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1522-4FFF-9E56-9731F6C7602B}"/>
                </c:ext>
              </c:extLst>
            </c:dLbl>
            <c:dLbl>
              <c:idx val="1"/>
              <c:tx>
                <c:rich>
                  <a:bodyPr/>
                  <a:lstStyle/>
                  <a:p>
                    <a:fld id="{B84ACB84-8D43-4586-9011-72615588679A}"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1522-4FFF-9E56-9731F6C7602B}"/>
                </c:ext>
              </c:extLst>
            </c:dLbl>
            <c:dLbl>
              <c:idx val="2"/>
              <c:tx>
                <c:rich>
                  <a:bodyPr/>
                  <a:lstStyle/>
                  <a:p>
                    <a:fld id="{E36B7852-A363-4A97-B90B-BEECAC41303B}"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1522-4FFF-9E56-9731F6C7602B}"/>
                </c:ext>
              </c:extLst>
            </c:dLbl>
            <c:dLbl>
              <c:idx val="3"/>
              <c:tx>
                <c:rich>
                  <a:bodyPr/>
                  <a:lstStyle/>
                  <a:p>
                    <a:fld id="{C1246EE7-FB05-4659-9B25-01B135C4438D}"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1522-4FFF-9E56-9731F6C7602B}"/>
                </c:ext>
              </c:extLst>
            </c:dLbl>
            <c:dLbl>
              <c:idx val="4"/>
              <c:tx>
                <c:rich>
                  <a:bodyPr/>
                  <a:lstStyle/>
                  <a:p>
                    <a:fld id="{358E648D-8E9B-4956-A076-44F2A7B7BF32}"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1522-4FFF-9E56-9731F6C7602B}"/>
                </c:ext>
              </c:extLst>
            </c:dLbl>
            <c:dLbl>
              <c:idx val="5"/>
              <c:tx>
                <c:rich>
                  <a:bodyPr/>
                  <a:lstStyle/>
                  <a:p>
                    <a:fld id="{9EEFC47F-8E14-45A8-9405-568C40CF8776}"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1522-4FFF-9E56-9731F6C7602B}"/>
                </c:ext>
              </c:extLst>
            </c:dLbl>
            <c:dLbl>
              <c:idx val="6"/>
              <c:tx>
                <c:rich>
                  <a:bodyPr/>
                  <a:lstStyle/>
                  <a:p>
                    <a:fld id="{FFB9A23C-9464-4330-9119-421E1FB55CDE}"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1522-4FFF-9E56-9731F6C7602B}"/>
                </c:ext>
              </c:extLst>
            </c:dLbl>
            <c:dLbl>
              <c:idx val="7"/>
              <c:tx>
                <c:rich>
                  <a:bodyPr/>
                  <a:lstStyle/>
                  <a:p>
                    <a:fld id="{315C4D06-1C24-494B-9E09-585F78B60ABB}"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1522-4FFF-9E56-9731F6C7602B}"/>
                </c:ext>
              </c:extLst>
            </c:dLbl>
            <c:dLbl>
              <c:idx val="8"/>
              <c:tx>
                <c:rich>
                  <a:bodyPr/>
                  <a:lstStyle/>
                  <a:p>
                    <a:fld id="{27CF11B2-B552-41E1-BD6D-83CA50FFBA13}"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1522-4FFF-9E56-9731F6C7602B}"/>
                </c:ext>
              </c:extLst>
            </c:dLbl>
            <c:dLbl>
              <c:idx val="9"/>
              <c:tx>
                <c:rich>
                  <a:bodyPr/>
                  <a:lstStyle/>
                  <a:p>
                    <a:fld id="{1BB68B22-B0C0-4006-9056-3748007DE709}"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1522-4FFF-9E56-9731F6C7602B}"/>
                </c:ext>
              </c:extLst>
            </c:dLbl>
            <c:dLbl>
              <c:idx val="1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1522-4FFF-9E56-9731F6C7602B}"/>
                </c:ext>
              </c:extLst>
            </c:dLbl>
            <c:dLbl>
              <c:idx val="1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1522-4FFF-9E56-9731F6C7602B}"/>
                </c:ext>
              </c:extLst>
            </c:dLbl>
            <c:dLbl>
              <c:idx val="1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1522-4FFF-9E56-9731F6C7602B}"/>
                </c:ext>
              </c:extLst>
            </c:dLbl>
            <c:dLbl>
              <c:idx val="13"/>
              <c:tx>
                <c:rich>
                  <a:bodyPr/>
                  <a:lstStyle/>
                  <a:p>
                    <a:fld id="{1E210589-64EA-4E14-8543-7ECEEEB29C1C}"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1522-4FFF-9E56-9731F6C7602B}"/>
                </c:ext>
              </c:extLst>
            </c:dLbl>
            <c:dLbl>
              <c:idx val="14"/>
              <c:tx>
                <c:rich>
                  <a:bodyPr/>
                  <a:lstStyle/>
                  <a:p>
                    <a:fld id="{2F9C56E2-12F4-4650-B22C-BF3EB2E49A92}"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1522-4FFF-9E56-9731F6C7602B}"/>
                </c:ext>
              </c:extLst>
            </c:dLbl>
            <c:dLbl>
              <c:idx val="15"/>
              <c:tx>
                <c:rich>
                  <a:bodyPr/>
                  <a:lstStyle/>
                  <a:p>
                    <a:fld id="{CBAD240B-0E21-4A54-83B4-CAAE71F63A79}"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1522-4FFF-9E56-9731F6C7602B}"/>
                </c:ext>
              </c:extLst>
            </c:dLbl>
            <c:dLbl>
              <c:idx val="1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1522-4FFF-9E56-9731F6C7602B}"/>
                </c:ext>
              </c:extLst>
            </c:dLbl>
            <c:dLbl>
              <c:idx val="1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1522-4FFF-9E56-9731F6C7602B}"/>
                </c:ext>
              </c:extLst>
            </c:dLbl>
            <c:dLbl>
              <c:idx val="1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1522-4FFF-9E56-9731F6C7602B}"/>
                </c:ext>
              </c:extLst>
            </c:dLbl>
            <c:dLbl>
              <c:idx val="19"/>
              <c:tx>
                <c:rich>
                  <a:bodyPr/>
                  <a:lstStyle/>
                  <a:p>
                    <a:fld id="{E20DF19E-09E5-4F33-9097-381B4A54AA79}"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1522-4FFF-9E56-9731F6C7602B}"/>
                </c:ext>
              </c:extLst>
            </c:dLbl>
            <c:dLbl>
              <c:idx val="20"/>
              <c:tx>
                <c:rich>
                  <a:bodyPr/>
                  <a:lstStyle/>
                  <a:p>
                    <a:fld id="{2CB93E37-BC38-49DD-A172-238742092F2B}"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1522-4FFF-9E56-9731F6C7602B}"/>
                </c:ext>
              </c:extLst>
            </c:dLbl>
            <c:dLbl>
              <c:idx val="21"/>
              <c:tx>
                <c:rich>
                  <a:bodyPr/>
                  <a:lstStyle/>
                  <a:p>
                    <a:fld id="{9F39EEBA-E9DF-46A5-B156-CB3D6EBF2301}"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1522-4FFF-9E56-9731F6C7602B}"/>
                </c:ext>
              </c:extLst>
            </c:dLbl>
            <c:dLbl>
              <c:idx val="2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1522-4FFF-9E56-9731F6C7602B}"/>
                </c:ext>
              </c:extLst>
            </c:dLbl>
            <c:dLbl>
              <c:idx val="23"/>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1522-4FFF-9E56-9731F6C7602B}"/>
                </c:ext>
              </c:extLst>
            </c:dLbl>
            <c:dLbl>
              <c:idx val="2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1522-4FFF-9E56-9731F6C7602B}"/>
                </c:ext>
              </c:extLst>
            </c:dLbl>
            <c:dLbl>
              <c:idx val="25"/>
              <c:tx>
                <c:rich>
                  <a:bodyPr/>
                  <a:lstStyle/>
                  <a:p>
                    <a:fld id="{2CF767F5-A2B9-4DD8-8AC1-CC88E69263E2}"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1522-4FFF-9E56-9731F6C7602B}"/>
                </c:ext>
              </c:extLst>
            </c:dLbl>
            <c:dLbl>
              <c:idx val="26"/>
              <c:tx>
                <c:rich>
                  <a:bodyPr/>
                  <a:lstStyle/>
                  <a:p>
                    <a:fld id="{CA2C7463-43F4-45A8-A092-49A7D02688D3}"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1522-4FFF-9E56-9731F6C7602B}"/>
                </c:ext>
              </c:extLst>
            </c:dLbl>
            <c:dLbl>
              <c:idx val="27"/>
              <c:tx>
                <c:rich>
                  <a:bodyPr/>
                  <a:lstStyle/>
                  <a:p>
                    <a:fld id="{EE4F7404-3338-4CE3-9084-8638192E9671}"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1522-4FFF-9E56-9731F6C7602B}"/>
                </c:ext>
              </c:extLst>
            </c:dLbl>
            <c:dLbl>
              <c:idx val="28"/>
              <c:tx>
                <c:rich>
                  <a:bodyPr/>
                  <a:lstStyle/>
                  <a:p>
                    <a:fld id="{E8C8B36C-705D-49CF-9020-EC3982BD76F4}"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1522-4FFF-9E56-9731F6C7602B}"/>
                </c:ext>
              </c:extLst>
            </c:dLbl>
            <c:dLbl>
              <c:idx val="29"/>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1522-4FFF-9E56-9731F6C7602B}"/>
                </c:ext>
              </c:extLst>
            </c:dLbl>
            <c:dLbl>
              <c:idx val="3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E-1522-4FFF-9E56-9731F6C7602B}"/>
                </c:ext>
              </c:extLst>
            </c:dLbl>
            <c:dLbl>
              <c:idx val="31"/>
              <c:tx>
                <c:rich>
                  <a:bodyPr/>
                  <a:lstStyle/>
                  <a:p>
                    <a:fld id="{9856B1A0-5D4B-4483-AE0C-3E53AEC33A9F}"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1522-4FFF-9E56-9731F6C7602B}"/>
                </c:ext>
              </c:extLst>
            </c:dLbl>
            <c:dLbl>
              <c:idx val="32"/>
              <c:tx>
                <c:rich>
                  <a:bodyPr/>
                  <a:lstStyle/>
                  <a:p>
                    <a:fld id="{1DAA4643-A863-477E-A732-CD6A76DDC35A}"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1522-4FFF-9E56-9731F6C7602B}"/>
                </c:ext>
              </c:extLst>
            </c:dLbl>
            <c:dLbl>
              <c:idx val="33"/>
              <c:tx>
                <c:rich>
                  <a:bodyPr/>
                  <a:lstStyle/>
                  <a:p>
                    <a:fld id="{D80913A4-7758-4487-BA12-D75CA6BD4548}"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1522-4FFF-9E56-9731F6C7602B}"/>
                </c:ext>
              </c:extLst>
            </c:dLbl>
            <c:dLbl>
              <c:idx val="3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1522-4FFF-9E56-9731F6C7602B}"/>
                </c:ext>
              </c:extLst>
            </c:dLbl>
            <c:dLbl>
              <c:idx val="35"/>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1522-4FFF-9E56-9731F6C7602B}"/>
                </c:ext>
              </c:extLst>
            </c:dLbl>
            <c:dLbl>
              <c:idx val="3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1522-4FFF-9E56-9731F6C7602B}"/>
                </c:ext>
              </c:extLst>
            </c:dLbl>
            <c:dLbl>
              <c:idx val="37"/>
              <c:tx>
                <c:rich>
                  <a:bodyPr/>
                  <a:lstStyle/>
                  <a:p>
                    <a:fld id="{5D5099B3-7842-4777-B263-9B6FBB6BFBC9}"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1522-4FFF-9E56-9731F6C7602B}"/>
                </c:ext>
              </c:extLst>
            </c:dLbl>
            <c:dLbl>
              <c:idx val="38"/>
              <c:tx>
                <c:rich>
                  <a:bodyPr/>
                  <a:lstStyle/>
                  <a:p>
                    <a:fld id="{CABF1202-C662-4108-9B82-319048A62140}" type="CELLRANGE">
                      <a:rPr lang="en-CH"/>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1522-4FFF-9E56-9731F6C7602B}"/>
                </c:ext>
              </c:extLst>
            </c:dLbl>
            <c:dLbl>
              <c:idx val="39"/>
              <c:tx>
                <c:rich>
                  <a:bodyPr/>
                  <a:lstStyle/>
                  <a:p>
                    <a:fld id="{3D1AFAD4-8986-47B8-B730-A23BEB9C0CA3}"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1522-4FFF-9E56-9731F6C7602B}"/>
                </c:ext>
              </c:extLst>
            </c:dLbl>
            <c:dLbl>
              <c:idx val="4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8-1522-4FFF-9E56-9731F6C7602B}"/>
                </c:ext>
              </c:extLst>
            </c:dLbl>
            <c:dLbl>
              <c:idx val="4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9-1522-4FFF-9E56-9731F6C7602B}"/>
                </c:ext>
              </c:extLst>
            </c:dLbl>
            <c:dLbl>
              <c:idx val="4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1522-4FFF-9E56-9731F6C7602B}"/>
                </c:ext>
              </c:extLst>
            </c:dLbl>
            <c:dLbl>
              <c:idx val="43"/>
              <c:tx>
                <c:rich>
                  <a:bodyPr/>
                  <a:lstStyle/>
                  <a:p>
                    <a:fld id="{06D5F968-1ECD-4DCA-AC93-2691AA9682AF}"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1522-4FFF-9E56-9731F6C7602B}"/>
                </c:ext>
              </c:extLst>
            </c:dLbl>
            <c:dLbl>
              <c:idx val="44"/>
              <c:tx>
                <c:rich>
                  <a:bodyPr/>
                  <a:lstStyle/>
                  <a:p>
                    <a:fld id="{9570DB4B-5BD3-4FFB-B097-FE1D5A138A22}"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1522-4FFF-9E56-9731F6C7602B}"/>
                </c:ext>
              </c:extLst>
            </c:dLbl>
            <c:dLbl>
              <c:idx val="45"/>
              <c:tx>
                <c:rich>
                  <a:bodyPr/>
                  <a:lstStyle/>
                  <a:p>
                    <a:fld id="{67C4F701-C031-46D1-9BF0-7524FED46DAF}"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1522-4FFF-9E56-9731F6C7602B}"/>
                </c:ext>
              </c:extLst>
            </c:dLbl>
            <c:dLbl>
              <c:idx val="4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E-1522-4FFF-9E56-9731F6C7602B}"/>
                </c:ext>
              </c:extLst>
            </c:dLbl>
            <c:dLbl>
              <c:idx val="4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F-1522-4FFF-9E56-9731F6C7602B}"/>
                </c:ext>
              </c:extLst>
            </c:dLbl>
            <c:dLbl>
              <c:idx val="4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0-1522-4FFF-9E56-9731F6C7602B}"/>
                </c:ext>
              </c:extLst>
            </c:dLbl>
            <c:dLbl>
              <c:idx val="49"/>
              <c:tx>
                <c:rich>
                  <a:bodyPr/>
                  <a:lstStyle/>
                  <a:p>
                    <a:fld id="{A42934A4-4AC2-4CB7-94D0-9439F9581D8C}"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1522-4FFF-9E56-9731F6C7602B}"/>
                </c:ext>
              </c:extLst>
            </c:dLbl>
            <c:dLbl>
              <c:idx val="50"/>
              <c:tx>
                <c:rich>
                  <a:bodyPr/>
                  <a:lstStyle/>
                  <a:p>
                    <a:fld id="{C5A7D7FA-C8BC-4DAF-B538-5C2441CCB395}"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1522-4FFF-9E56-9731F6C7602B}"/>
                </c:ext>
              </c:extLst>
            </c:dLbl>
            <c:dLbl>
              <c:idx val="51"/>
              <c:tx>
                <c:rich>
                  <a:bodyPr/>
                  <a:lstStyle/>
                  <a:p>
                    <a:fld id="{71DEE16B-83D6-461E-A6B3-6E802E281F5D}"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1522-4FFF-9E56-9731F6C7602B}"/>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0%;0%</c:formatCode>
                <c:ptCount val="52"/>
                <c:pt idx="0">
                  <c:v>1</c:v>
                </c:pt>
                <c:pt idx="1">
                  <c:v>1</c:v>
                </c:pt>
                <c:pt idx="2">
                  <c:v>1</c:v>
                </c:pt>
                <c:pt idx="3">
                  <c:v>1</c:v>
                </c:pt>
                <c:pt idx="4">
                  <c:v>1</c:v>
                </c:pt>
                <c:pt idx="5">
                  <c:v>1</c:v>
                </c:pt>
                <c:pt idx="6">
                  <c:v>1</c:v>
                </c:pt>
                <c:pt idx="7">
                  <c:v>1</c:v>
                </c:pt>
                <c:pt idx="8">
                  <c:v>1</c:v>
                </c:pt>
                <c:pt idx="9">
                  <c:v>1</c:v>
                </c:pt>
                <c:pt idx="10">
                  <c:v>#N/A</c:v>
                </c:pt>
                <c:pt idx="11">
                  <c:v>#N/A</c:v>
                </c:pt>
                <c:pt idx="12">
                  <c:v>#N/A</c:v>
                </c:pt>
                <c:pt idx="13">
                  <c:v>1</c:v>
                </c:pt>
                <c:pt idx="14">
                  <c:v>1</c:v>
                </c:pt>
                <c:pt idx="15">
                  <c:v>1</c:v>
                </c:pt>
                <c:pt idx="16">
                  <c:v>#N/A</c:v>
                </c:pt>
                <c:pt idx="17">
                  <c:v>#N/A</c:v>
                </c:pt>
                <c:pt idx="18">
                  <c:v>#N/A</c:v>
                </c:pt>
                <c:pt idx="19">
                  <c:v>1</c:v>
                </c:pt>
                <c:pt idx="20">
                  <c:v>1</c:v>
                </c:pt>
                <c:pt idx="21">
                  <c:v>1</c:v>
                </c:pt>
                <c:pt idx="22">
                  <c:v>#N/A</c:v>
                </c:pt>
                <c:pt idx="23">
                  <c:v>#N/A</c:v>
                </c:pt>
                <c:pt idx="24">
                  <c:v>#N/A</c:v>
                </c:pt>
                <c:pt idx="25">
                  <c:v>1</c:v>
                </c:pt>
                <c:pt idx="26">
                  <c:v>1</c:v>
                </c:pt>
                <c:pt idx="27">
                  <c:v>1</c:v>
                </c:pt>
                <c:pt idx="28">
                  <c:v>1</c:v>
                </c:pt>
                <c:pt idx="29">
                  <c:v>#N/A</c:v>
                </c:pt>
                <c:pt idx="30">
                  <c:v>#N/A</c:v>
                </c:pt>
                <c:pt idx="31">
                  <c:v>1</c:v>
                </c:pt>
                <c:pt idx="32">
                  <c:v>1</c:v>
                </c:pt>
                <c:pt idx="33">
                  <c:v>1</c:v>
                </c:pt>
                <c:pt idx="34">
                  <c:v>#N/A</c:v>
                </c:pt>
                <c:pt idx="35">
                  <c:v>#N/A</c:v>
                </c:pt>
                <c:pt idx="36">
                  <c:v>#N/A</c:v>
                </c:pt>
                <c:pt idx="37">
                  <c:v>1</c:v>
                </c:pt>
                <c:pt idx="38">
                  <c:v>1</c:v>
                </c:pt>
                <c:pt idx="39">
                  <c:v>1</c:v>
                </c:pt>
                <c:pt idx="40">
                  <c:v>#N/A</c:v>
                </c:pt>
                <c:pt idx="41">
                  <c:v>#N/A</c:v>
                </c:pt>
                <c:pt idx="42">
                  <c:v>#N/A</c:v>
                </c:pt>
                <c:pt idx="43">
                  <c:v>1</c:v>
                </c:pt>
                <c:pt idx="44">
                  <c:v>1</c:v>
                </c:pt>
                <c:pt idx="45">
                  <c:v>1</c:v>
                </c:pt>
                <c:pt idx="46">
                  <c:v>#N/A</c:v>
                </c:pt>
                <c:pt idx="47">
                  <c:v>#N/A</c:v>
                </c:pt>
                <c:pt idx="48">
                  <c:v>#N/A</c:v>
                </c:pt>
                <c:pt idx="49">
                  <c:v>1</c:v>
                </c:pt>
                <c:pt idx="50">
                  <c:v>1</c:v>
                </c:pt>
                <c:pt idx="51">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1522-4FFF-9E56-9731F6C7602B}"/>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0%;0%</c:formatCode>
                <c:ptCount val="52"/>
                <c:pt idx="0">
                  <c:v>0.31741195933698862</c:v>
                </c:pt>
                <c:pt idx="1">
                  <c:v>0.55552518945359541</c:v>
                </c:pt>
                <c:pt idx="2">
                  <c:v>0.47761625108308464</c:v>
                </c:pt>
                <c:pt idx="3">
                  <c:v>0.43712699308174235</c:v>
                </c:pt>
                <c:pt idx="4">
                  <c:v>0.36264807702176205</c:v>
                </c:pt>
                <c:pt idx="5">
                  <c:v>0.38422904683399911</c:v>
                </c:pt>
                <c:pt idx="6">
                  <c:v>0.40742054727108346</c:v>
                </c:pt>
                <c:pt idx="7">
                  <c:v>1.0321668026535173</c:v>
                </c:pt>
                <c:pt idx="8">
                  <c:v>0.5462931131314438</c:v>
                </c:pt>
                <c:pt idx="9">
                  <c:v>0.76245047295306534</c:v>
                </c:pt>
                <c:pt idx="10">
                  <c:v>#N/A</c:v>
                </c:pt>
                <c:pt idx="11">
                  <c:v>#N/A</c:v>
                </c:pt>
                <c:pt idx="12">
                  <c:v>#N/A</c:v>
                </c:pt>
                <c:pt idx="13">
                  <c:v>0.2685619698185851</c:v>
                </c:pt>
                <c:pt idx="14">
                  <c:v>0.60045689300840521</c:v>
                </c:pt>
                <c:pt idx="15">
                  <c:v>0.3622105904776648</c:v>
                </c:pt>
                <c:pt idx="16">
                  <c:v>#N/A</c:v>
                </c:pt>
                <c:pt idx="17">
                  <c:v>#N/A</c:v>
                </c:pt>
                <c:pt idx="18">
                  <c:v>#N/A</c:v>
                </c:pt>
                <c:pt idx="19">
                  <c:v>0.10463941845632306</c:v>
                </c:pt>
                <c:pt idx="20">
                  <c:v>0.52569649178121824</c:v>
                </c:pt>
                <c:pt idx="21">
                  <c:v>0.14491334978561482</c:v>
                </c:pt>
                <c:pt idx="22">
                  <c:v>#N/A</c:v>
                </c:pt>
                <c:pt idx="23">
                  <c:v>#N/A</c:v>
                </c:pt>
                <c:pt idx="24">
                  <c:v>#N/A</c:v>
                </c:pt>
                <c:pt idx="25">
                  <c:v>0.18886446202424201</c:v>
                </c:pt>
                <c:pt idx="26">
                  <c:v>0.22372048262984959</c:v>
                </c:pt>
                <c:pt idx="27">
                  <c:v>0.36828644501278773</c:v>
                </c:pt>
                <c:pt idx="28">
                  <c:v>#N/A</c:v>
                </c:pt>
                <c:pt idx="29">
                  <c:v>#N/A</c:v>
                </c:pt>
                <c:pt idx="30">
                  <c:v>#N/A</c:v>
                </c:pt>
                <c:pt idx="31">
                  <c:v>0.12294597048113506</c:v>
                </c:pt>
                <c:pt idx="32">
                  <c:v>0.50035194109047598</c:v>
                </c:pt>
                <c:pt idx="33">
                  <c:v>0.41802358537751055</c:v>
                </c:pt>
                <c:pt idx="34">
                  <c:v>#N/A</c:v>
                </c:pt>
                <c:pt idx="35">
                  <c:v>#N/A</c:v>
                </c:pt>
                <c:pt idx="36">
                  <c:v>#N/A</c:v>
                </c:pt>
                <c:pt idx="37">
                  <c:v>0.86697921202118289</c:v>
                </c:pt>
                <c:pt idx="38">
                  <c:v>2.5595210495451881</c:v>
                </c:pt>
                <c:pt idx="39">
                  <c:v>0.36886480958675349</c:v>
                </c:pt>
                <c:pt idx="40">
                  <c:v>#N/A</c:v>
                </c:pt>
                <c:pt idx="41">
                  <c:v>#N/A</c:v>
                </c:pt>
                <c:pt idx="42">
                  <c:v>#N/A</c:v>
                </c:pt>
                <c:pt idx="43">
                  <c:v>0.90170890150406746</c:v>
                </c:pt>
                <c:pt idx="44">
                  <c:v>1.048028435450546</c:v>
                </c:pt>
                <c:pt idx="45">
                  <c:v>0.34420385076843968</c:v>
                </c:pt>
                <c:pt idx="46">
                  <c:v>#N/A</c:v>
                </c:pt>
                <c:pt idx="47">
                  <c:v>#N/A</c:v>
                </c:pt>
                <c:pt idx="48">
                  <c:v>#N/A</c:v>
                </c:pt>
                <c:pt idx="49">
                  <c:v>1.3343675915403637</c:v>
                </c:pt>
                <c:pt idx="50">
                  <c:v>1.0787224336125691</c:v>
                </c:pt>
                <c:pt idx="51">
                  <c:v>0.33774114750629919</c:v>
                </c:pt>
              </c:numCache>
            </c:numRef>
          </c:val>
          <c:smooth val="0"/>
          <c:extLst>
            <c:ext xmlns:c16="http://schemas.microsoft.com/office/drawing/2014/chart" uri="{C3380CC4-5D6E-409C-BE32-E72D297353CC}">
              <c16:uniqueId val="{00000035-1522-4FFF-9E56-9731F6C7602B}"/>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4-0DAD-4482-B93F-84F75497B5DC}"/>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3-E36D-45CD-A288-8E90CF32B35D}"/>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B$2:$B$10</c:f>
              <c:numCache>
                <c:formatCode>General</c:formatCode>
                <c:ptCount val="9"/>
                <c:pt idx="0">
                  <c:v>0.12378275753677978</c:v>
                </c:pt>
                <c:pt idx="1">
                  <c:v>0.11671096345997795</c:v>
                </c:pt>
                <c:pt idx="2">
                  <c:v>0.10891940324469492</c:v>
                </c:pt>
                <c:pt idx="3">
                  <c:v>8.1613751220955141E-2</c:v>
                </c:pt>
                <c:pt idx="4">
                  <c:v>6.9218830037023657E-2</c:v>
                </c:pt>
                <c:pt idx="5">
                  <c:v>6.4484124887376107E-2</c:v>
                </c:pt>
                <c:pt idx="6">
                  <c:v>5.7775770621263815E-2</c:v>
                </c:pt>
                <c:pt idx="7">
                  <c:v>5.3272494950189576E-2</c:v>
                </c:pt>
                <c:pt idx="8">
                  <c:v>4.0675602600890891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C$2:$C$10</c:f>
              <c:numCache>
                <c:formatCode>General</c:formatCode>
                <c:ptCount val="9"/>
                <c:pt idx="0">
                  <c:v>0.18287954337750859</c:v>
                </c:pt>
                <c:pt idx="1">
                  <c:v>0.10647118379234825</c:v>
                </c:pt>
                <c:pt idx="2">
                  <c:v>0.10646245549134771</c:v>
                </c:pt>
                <c:pt idx="3">
                  <c:v>3.8944377127970095E-2</c:v>
                </c:pt>
                <c:pt idx="4">
                  <c:v>4.8003732947916537E-2</c:v>
                </c:pt>
                <c:pt idx="5">
                  <c:v>6.8509320266489468E-2</c:v>
                </c:pt>
                <c:pt idx="6">
                  <c:v>8.1157280003894855E-2</c:v>
                </c:pt>
                <c:pt idx="7">
                  <c:v>8.3451633957705523E-2</c:v>
                </c:pt>
                <c:pt idx="8">
                  <c:v>2.6368507012581005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D$2:$D$10</c:f>
              <c:numCache>
                <c:formatCode>General</c:formatCode>
                <c:ptCount val="9"/>
                <c:pt idx="0">
                  <c:v>0.44357650363271445</c:v>
                </c:pt>
                <c:pt idx="1">
                  <c:v>0.27189310180771603</c:v>
                </c:pt>
                <c:pt idx="2">
                  <c:v>0.28326010157990406</c:v>
                </c:pt>
                <c:pt idx="3">
                  <c:v>0.13384480350763237</c:v>
                </c:pt>
                <c:pt idx="4">
                  <c:v>0.212258900124671</c:v>
                </c:pt>
                <c:pt idx="5">
                  <c:v>0.3045451464648139</c:v>
                </c:pt>
                <c:pt idx="6">
                  <c:v>0.40660591491529635</c:v>
                </c:pt>
                <c:pt idx="7">
                  <c:v>0.43752817863293547</c:v>
                </c:pt>
                <c:pt idx="8">
                  <c:v>0.20126467566136311</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rbi Dario Spa</c:v>
                </c:pt>
                <c:pt idx="1">
                  <c:v>Esca Srl</c:v>
                </c:pt>
                <c:pt idx="2">
                  <c:v>Findus</c:v>
                </c:pt>
                <c:pt idx="3">
                  <c:v>Frosta</c:v>
                </c:pt>
                <c:pt idx="4">
                  <c:v>Krusta Group</c:v>
                </c:pt>
                <c:pt idx="5">
                  <c:v>New Food</c:v>
                </c:pt>
                <c:pt idx="6">
                  <c:v>Panapesca</c:v>
                </c:pt>
                <c:pt idx="7">
                  <c:v>Pescanova S.A.</c:v>
                </c:pt>
                <c:pt idx="8">
                  <c:v>Private Label</c:v>
                </c:pt>
                <c:pt idx="9">
                  <c:v>Lol</c:v>
                </c:pt>
              </c:strCache>
            </c:strRef>
          </c:cat>
          <c:val>
            <c:numRef>
              <c:f>Sheet1!$B$2:$B$11</c:f>
              <c:numCache>
                <c:formatCode>General</c:formatCode>
                <c:ptCount val="10"/>
                <c:pt idx="0">
                  <c:v>0.97553731504482122</c:v>
                </c:pt>
                <c:pt idx="1">
                  <c:v>1</c:v>
                </c:pt>
                <c:pt idx="2">
                  <c:v>0.96560128666794454</c:v>
                </c:pt>
                <c:pt idx="3">
                  <c:v>1</c:v>
                </c:pt>
                <c:pt idx="4">
                  <c:v>4.2670982812054552E-2</c:v>
                </c:pt>
                <c:pt idx="5">
                  <c:v>1</c:v>
                </c:pt>
                <c:pt idx="6">
                  <c:v>0.71063588973412994</c:v>
                </c:pt>
                <c:pt idx="7">
                  <c:v>4.152747056740308E-2</c:v>
                </c:pt>
                <c:pt idx="8">
                  <c:v>0.88317257601959165</c:v>
                </c:pt>
                <c:pt idx="9">
                  <c:v>0.5</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rbi Dario Spa</c:v>
                </c:pt>
                <c:pt idx="1">
                  <c:v>Esca Srl</c:v>
                </c:pt>
                <c:pt idx="2">
                  <c:v>Findus</c:v>
                </c:pt>
                <c:pt idx="3">
                  <c:v>Frosta</c:v>
                </c:pt>
                <c:pt idx="4">
                  <c:v>Krusta Group</c:v>
                </c:pt>
                <c:pt idx="5">
                  <c:v>New Food</c:v>
                </c:pt>
                <c:pt idx="6">
                  <c:v>Panapesca</c:v>
                </c:pt>
                <c:pt idx="7">
                  <c:v>Pescanova S.A.</c:v>
                </c:pt>
                <c:pt idx="8">
                  <c:v>Private Label</c:v>
                </c:pt>
                <c:pt idx="9">
                  <c:v>Lol</c:v>
                </c:pt>
              </c:strCache>
            </c:strRef>
          </c:cat>
          <c:val>
            <c:numRef>
              <c:f>Sheet1!$C$2:$C$11</c:f>
              <c:numCache>
                <c:formatCode>General</c:formatCode>
                <c:ptCount val="10"/>
                <c:pt idx="0">
                  <c:v>2.446268495517874E-2</c:v>
                </c:pt>
                <c:pt idx="2">
                  <c:v>3.4398713332055492E-2</c:v>
                </c:pt>
                <c:pt idx="4">
                  <c:v>0.9573290171879455</c:v>
                </c:pt>
                <c:pt idx="6">
                  <c:v>0.28936411026586994</c:v>
                </c:pt>
                <c:pt idx="7">
                  <c:v>0.95847252943259698</c:v>
                </c:pt>
                <c:pt idx="8">
                  <c:v>0.11682742398040841</c:v>
                </c:pt>
                <c:pt idx="9">
                  <c:v>0.5</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withinLinear" id="15">
  <a:schemeClr val="accent2"/>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5BE782C-E550-452E-9FE3-91B8E17AF226}" type="datetimeFigureOut">
              <a:rPr lang="en-AE" smtClean="0"/>
              <a:t>27/01/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FA683E8-0D0A-4C02-8331-429BD4A453B1}" type="slidenum">
              <a:rPr lang="en-AE" smtClean="0"/>
              <a:t>‹#›</a:t>
            </a:fld>
            <a:endParaRPr lang="en-AE"/>
          </a:p>
        </p:txBody>
      </p:sp>
    </p:spTree>
    <p:extLst>
      <p:ext uri="{BB962C8B-B14F-4D97-AF65-F5344CB8AC3E}">
        <p14:creationId xmlns:p14="http://schemas.microsoft.com/office/powerpoint/2010/main" val="157140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AB5EBF-BAA8-6138-B8F1-BFB4854B1AF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C09C062-CCD5-939B-4A2F-6FE08AF0404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25901A2-4DC5-B138-7D02-F90798372008}"/>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5849A7B3-1A26-B7E6-4696-587785E956AD}"/>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0</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1249402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BEF5B9-441A-4523-1ACE-593161F8444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225B149-09B5-9BFC-B9FE-862E33482AF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3BF498F-52A1-49CE-F97E-7C2102F38A51}"/>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881C2A81-3512-D72C-17BC-12FC847B80B4}"/>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1</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9337120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68377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0193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6BB97D-25DE-D7EC-8FB9-FBF4D21FC1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1C9335-9D72-C5D9-B738-EEFE5273FB5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66C2B80-AF3A-E4BA-F4B9-9CB294560CDB}"/>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1869EE83-6212-B7DB-50AC-BC6D2356A462}"/>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8</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209664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854900-C643-AADF-A5A1-5DDD99B427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1D7A29-A3E1-F863-625D-3E5C5DF9FEB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BE1CC5D-DE28-F6F2-8A65-CF5C339739DF}"/>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9774E330-C8BE-C17F-9670-03AC78A3165A}"/>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9</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5421947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dirty="0"/>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6367651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1/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28014230"/>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1/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660604921"/>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1/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5468608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1/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2158369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1/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0193647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1/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760177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1/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155241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1/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49503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1/27/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226640868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7/01/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4620400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1/27/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48166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7/01/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52443848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7/01/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7030468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7/01/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9322980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7771756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1/27/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37479062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1/27/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8940676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1/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32921590"/>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1/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71045061"/>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1/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18859716"/>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1/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74903640"/>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1/27/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054970409"/>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1/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04929339"/>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dirty="0"/>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1/27/2025</a:t>
            </a:fld>
            <a:endParaRPr lang="en-US"/>
          </a:p>
        </p:txBody>
      </p:sp>
    </p:spTree>
    <p:extLst>
      <p:ext uri="{BB962C8B-B14F-4D97-AF65-F5344CB8AC3E}">
        <p14:creationId xmlns:p14="http://schemas.microsoft.com/office/powerpoint/2010/main" val="1848249703"/>
      </p:ext>
    </p:extLst>
  </p:cSld>
  <p:clrMap bg1="lt1" tx1="dk1" bg2="lt2" tx2="dk2" accent1="accent1" accent2="accent2" accent3="accent3" accent4="accent4" accent5="accent5" accent6="accent6" hlink="hlink" folHlink="folHlink"/>
  <p:sldLayoutIdLst>
    <p:sldLayoutId id="2147483895" r:id="rId1"/>
    <p:sldLayoutId id="2147483899" r:id="rId2"/>
    <p:sldLayoutId id="2147483900" r:id="rId3"/>
    <p:sldLayoutId id="2147483901" r:id="rId4"/>
    <p:sldLayoutId id="2147483902" r:id="rId5"/>
    <p:sldLayoutId id="2147483903" r:id="rId6"/>
    <p:sldLayoutId id="2147483904" r:id="rId7"/>
    <p:sldLayoutId id="2147483905" r:id="rId8"/>
    <p:sldLayoutId id="2147483906" r:id="rId9"/>
    <p:sldLayoutId id="2147483907" r:id="rId10"/>
    <p:sldLayoutId id="2147483908" r:id="rId11"/>
    <p:sldLayoutId id="2147483909" r:id="rId12"/>
    <p:sldLayoutId id="2147483910" r:id="rId13"/>
    <p:sldLayoutId id="2147483911" r:id="rId14"/>
    <p:sldLayoutId id="2147483912" r:id="rId15"/>
    <p:sldLayoutId id="2147483913" r:id="rId16"/>
    <p:sldLayoutId id="2147483914" r:id="rId17"/>
    <p:sldLayoutId id="2147483915" r:id="rId18"/>
    <p:sldLayoutId id="2147483916" r:id="rId19"/>
    <p:sldLayoutId id="2147483917" r:id="rId20"/>
    <p:sldLayoutId id="2147483918" r:id="rId21"/>
    <p:sldLayoutId id="2147483919" r:id="rId22"/>
    <p:sldLayoutId id="2147483954" r:id="rId23"/>
    <p:sldLayoutId id="214748395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chart" Target="../charts/chart7.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chart" Target="../charts/chart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xml"/><Relationship Id="rId5" Type="http://schemas.openxmlformats.org/officeDocument/2006/relationships/chart" Target="../charts/chart8.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chart" Target="../charts/chart1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chart" Target="../charts/chart11.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chart" Target="../charts/chart12.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chart" Target="../charts/chart13.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4.xml"/><Relationship Id="rId5" Type="http://schemas.openxmlformats.org/officeDocument/2006/relationships/chart" Target="../charts/chart14.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16.xml"/><Relationship Id="rId5" Type="http://schemas.openxmlformats.org/officeDocument/2006/relationships/chart" Target="../charts/chart15.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8.bin"/><Relationship Id="rId7" Type="http://schemas.openxmlformats.org/officeDocument/2006/relationships/chart" Target="../charts/chart19.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18.xml"/><Relationship Id="rId5" Type="http://schemas.openxmlformats.org/officeDocument/2006/relationships/chart" Target="../charts/chart17.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chart" Target="../charts/chart2.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0.xml.rels><?xml version="1.0" encoding="UTF-8" standalone="yes"?>
<Relationships xmlns="http://schemas.openxmlformats.org/package/2006/relationships"><Relationship Id="rId8" Type="http://schemas.openxmlformats.org/officeDocument/2006/relationships/chart" Target="../charts/chart23.xml"/><Relationship Id="rId3" Type="http://schemas.openxmlformats.org/officeDocument/2006/relationships/oleObject" Target="../embeddings/oleObject28.bin"/><Relationship Id="rId7" Type="http://schemas.openxmlformats.org/officeDocument/2006/relationships/chart" Target="../charts/chart22.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21.xml"/><Relationship Id="rId5" Type="http://schemas.openxmlformats.org/officeDocument/2006/relationships/chart" Target="../charts/chart20.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chart" Target="../charts/chart25.xml"/><Relationship Id="rId5" Type="http://schemas.openxmlformats.org/officeDocument/2006/relationships/chart" Target="../charts/chart24.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49.xml"/><Relationship Id="rId5" Type="http://schemas.openxmlformats.org/officeDocument/2006/relationships/chart" Target="../charts/chart26.xml"/><Relationship Id="rId4" Type="http://schemas.openxmlformats.org/officeDocument/2006/relationships/image" Target="../media/image31.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chart" Target="../charts/chart28.xml"/><Relationship Id="rId5" Type="http://schemas.openxmlformats.org/officeDocument/2006/relationships/chart" Target="../charts/chart27.xml"/><Relationship Id="rId4" Type="http://schemas.openxmlformats.org/officeDocument/2006/relationships/image" Target="../media/image31.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30.bin"/><Relationship Id="rId7" Type="http://schemas.openxmlformats.org/officeDocument/2006/relationships/chart" Target="../charts/chart31.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chart" Target="../charts/chart30.xml"/><Relationship Id="rId5" Type="http://schemas.openxmlformats.org/officeDocument/2006/relationships/chart" Target="../charts/chart29.xml"/><Relationship Id="rId4" Type="http://schemas.openxmlformats.org/officeDocument/2006/relationships/image" Target="../media/image31.emf"/></Relationships>
</file>

<file path=ppt/slides/_rels/slide25.xml.rels><?xml version="1.0" encoding="UTF-8" standalone="yes"?>
<Relationships xmlns="http://schemas.openxmlformats.org/package/2006/relationships"><Relationship Id="rId8" Type="http://schemas.openxmlformats.org/officeDocument/2006/relationships/chart" Target="../charts/chart35.xml"/><Relationship Id="rId3" Type="http://schemas.openxmlformats.org/officeDocument/2006/relationships/oleObject" Target="../embeddings/oleObject30.bin"/><Relationship Id="rId7" Type="http://schemas.openxmlformats.org/officeDocument/2006/relationships/chart" Target="../charts/chart34.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chart" Target="../charts/chart33.xml"/><Relationship Id="rId5" Type="http://schemas.openxmlformats.org/officeDocument/2006/relationships/chart" Target="../charts/chart32.xml"/><Relationship Id="rId4" Type="http://schemas.openxmlformats.org/officeDocument/2006/relationships/image" Target="../media/image31.emf"/></Relationships>
</file>

<file path=ppt/slides/_rels/slide26.xml.rels><?xml version="1.0" encoding="UTF-8" standalone="yes"?>
<Relationships xmlns="http://schemas.openxmlformats.org/package/2006/relationships"><Relationship Id="rId8" Type="http://schemas.openxmlformats.org/officeDocument/2006/relationships/chart" Target="../charts/chart39.xml"/><Relationship Id="rId3" Type="http://schemas.openxmlformats.org/officeDocument/2006/relationships/oleObject" Target="../embeddings/oleObject30.bin"/><Relationship Id="rId7" Type="http://schemas.openxmlformats.org/officeDocument/2006/relationships/chart" Target="../charts/chart38.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chart" Target="../charts/chart37.xml"/><Relationship Id="rId5" Type="http://schemas.openxmlformats.org/officeDocument/2006/relationships/chart" Target="../charts/chart36.xml"/><Relationship Id="rId4" Type="http://schemas.openxmlformats.org/officeDocument/2006/relationships/image" Target="../media/image31.emf"/><Relationship Id="rId9" Type="http://schemas.openxmlformats.org/officeDocument/2006/relationships/chart" Target="../charts/chart40.xml"/></Relationships>
</file>

<file path=ppt/slides/_rels/slide27.xml.rels><?xml version="1.0" encoding="UTF-8" standalone="yes"?>
<Relationships xmlns="http://schemas.openxmlformats.org/package/2006/relationships"><Relationship Id="rId8" Type="http://schemas.openxmlformats.org/officeDocument/2006/relationships/chart" Target="../charts/chart44.xml"/><Relationship Id="rId3" Type="http://schemas.openxmlformats.org/officeDocument/2006/relationships/chart" Target="../charts/chart41.xml"/><Relationship Id="rId7" Type="http://schemas.openxmlformats.org/officeDocument/2006/relationships/chart" Target="../charts/chart43.xml"/><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chart" Target="../charts/chart42.xml"/><Relationship Id="rId5" Type="http://schemas.openxmlformats.org/officeDocument/2006/relationships/image" Target="../media/image31.emf"/><Relationship Id="rId10" Type="http://schemas.openxmlformats.org/officeDocument/2006/relationships/chart" Target="../charts/chart46.xml"/><Relationship Id="rId4" Type="http://schemas.openxmlformats.org/officeDocument/2006/relationships/oleObject" Target="../embeddings/oleObject30.bin"/><Relationship Id="rId9" Type="http://schemas.openxmlformats.org/officeDocument/2006/relationships/chart" Target="../charts/chart45.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chart" Target="../charts/chart47.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chart" Target="../charts/chart49.xml"/><Relationship Id="rId2" Type="http://schemas.openxmlformats.org/officeDocument/2006/relationships/slideLayout" Target="../slideLayouts/slideLayout7.xml"/><Relationship Id="rId1" Type="http://schemas.openxmlformats.org/officeDocument/2006/relationships/tags" Target="../tags/tag56.xml"/><Relationship Id="rId6" Type="http://schemas.openxmlformats.org/officeDocument/2006/relationships/chart" Target="../charts/chart48.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image" Target="../media/image29.emf"/><Relationship Id="rId4" Type="http://schemas.openxmlformats.org/officeDocument/2006/relationships/oleObject" Target="../embeddings/oleObject27.bin"/></Relationships>
</file>

<file path=ppt/slides/_rels/slide30.xml.rels><?xml version="1.0" encoding="UTF-8" standalone="yes"?>
<Relationships xmlns="http://schemas.openxmlformats.org/package/2006/relationships"><Relationship Id="rId8" Type="http://schemas.openxmlformats.org/officeDocument/2006/relationships/chart" Target="../charts/chart52.xml"/><Relationship Id="rId3" Type="http://schemas.openxmlformats.org/officeDocument/2006/relationships/notesSlide" Target="../notesSlides/notesSlide10.xml"/><Relationship Id="rId7" Type="http://schemas.openxmlformats.org/officeDocument/2006/relationships/chart" Target="../charts/chart51.xml"/><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chart" Target="../charts/chart50.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31.xml.rels><?xml version="1.0" encoding="UTF-8" standalone="yes"?>
<Relationships xmlns="http://schemas.openxmlformats.org/package/2006/relationships"><Relationship Id="rId8" Type="http://schemas.openxmlformats.org/officeDocument/2006/relationships/chart" Target="../charts/chart55.xml"/><Relationship Id="rId3" Type="http://schemas.openxmlformats.org/officeDocument/2006/relationships/notesSlide" Target="../notesSlides/notesSlide11.xml"/><Relationship Id="rId7" Type="http://schemas.openxmlformats.org/officeDocument/2006/relationships/chart" Target="../charts/chart54.xml"/><Relationship Id="rId2" Type="http://schemas.openxmlformats.org/officeDocument/2006/relationships/slideLayout" Target="../slideLayouts/slideLayout7.xml"/><Relationship Id="rId1" Type="http://schemas.openxmlformats.org/officeDocument/2006/relationships/tags" Target="../tags/tag58.xml"/><Relationship Id="rId6" Type="http://schemas.openxmlformats.org/officeDocument/2006/relationships/chart" Target="../charts/chart53.xml"/><Relationship Id="rId5" Type="http://schemas.openxmlformats.org/officeDocument/2006/relationships/image" Target="../media/image32.emf"/><Relationship Id="rId4" Type="http://schemas.openxmlformats.org/officeDocument/2006/relationships/oleObject" Target="../embeddings/oleObject31.bin"/><Relationship Id="rId9" Type="http://schemas.openxmlformats.org/officeDocument/2006/relationships/chart" Target="../charts/chart56.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2.xml"/><Relationship Id="rId5" Type="http://schemas.openxmlformats.org/officeDocument/2006/relationships/chart" Target="../charts/chart4.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5.xml"/><Relationship Id="rId5" Type="http://schemas.openxmlformats.org/officeDocument/2006/relationships/image" Target="../media/image30.emf"/><Relationship Id="rId4" Type="http://schemas.openxmlformats.org/officeDocument/2006/relationships/oleObject" Target="../embeddings/oleObject29.bin"/></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C7E3D415-D32B-9EC5-3F54-CC4F291C65C0}"/>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0" name="think-cell data - do not delete" hidden="1">
                        <a:extLst>
                          <a:ext uri="{FF2B5EF4-FFF2-40B4-BE49-F238E27FC236}">
                            <a16:creationId xmlns:a16="http://schemas.microsoft.com/office/drawing/2014/main" id="{C7E3D415-D32B-9EC5-3F54-CC4F291C65C0}"/>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4D371C74-4BA2-4339-A71E-2AE5D79A442B}" type="datetime1">
              <a:rPr lang="en-US"/>
              <a:pPr/>
              <a:t>1/27/2025</a:t>
            </a:fld>
            <a:endParaRPr lang="en-US"/>
          </a:p>
        </p:txBody>
      </p:sp>
      <p:sp>
        <p:nvSpPr>
          <p:cNvPr id="6" name="Footer Placeholder 5">
            <a:extLst>
              <a:ext uri="{FF2B5EF4-FFF2-40B4-BE49-F238E27FC236}">
                <a16:creationId xmlns:a16="http://schemas.microsoft.com/office/drawing/2014/main" id="{9B3FEB8A-6E21-E07D-562F-9F70B3EA279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66CB1A0-E8F1-5751-E0B9-E9D64E3C2B7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US" dirty="0"/>
              <a:t>Data Source l Trade Panel l Ending March 2022</a:t>
            </a:r>
          </a:p>
        </p:txBody>
      </p:sp>
      <p:sp>
        <p:nvSpPr>
          <p:cNvPr id="4" name="Text Placeholder 3">
            <a:extLst>
              <a:ext uri="{FF2B5EF4-FFF2-40B4-BE49-F238E27FC236}">
                <a16:creationId xmlns:a16="http://schemas.microsoft.com/office/drawing/2014/main" id="{58623ACB-90AA-B485-781D-B9F422BCE9B9}"/>
              </a:ext>
            </a:extLst>
          </p:cNvPr>
          <p:cNvSpPr>
            <a:spLocks noGrp="1"/>
          </p:cNvSpPr>
          <p:nvPr>
            <p:ph type="body" sz="quarter" idx="18"/>
          </p:nvPr>
        </p:nvSpPr>
        <p:spPr>
          <a:xfrm>
            <a:off x="503238" y="774000"/>
            <a:ext cx="8136762" cy="360000"/>
          </a:xfrm>
        </p:spPr>
        <p:txBody>
          <a:bodyPr/>
          <a:lstStyle/>
          <a:p>
            <a:r>
              <a:rPr lang="en-US"/>
              <a:t>Promo Value Sales | Category | National | P12M</a:t>
            </a:r>
          </a:p>
        </p:txBody>
      </p:sp>
      <p:sp>
        <p:nvSpPr>
          <p:cNvPr id="2" name="Title 1">
            <a:extLst>
              <a:ext uri="{FF2B5EF4-FFF2-40B4-BE49-F238E27FC236}">
                <a16:creationId xmlns:a16="http://schemas.microsoft.com/office/drawing/2014/main" id="{517217BB-A078-FA32-2CEA-B4926B7854B3}"/>
              </a:ext>
            </a:extLst>
          </p:cNvPr>
          <p:cNvSpPr>
            <a:spLocks noGrp="1"/>
          </p:cNvSpPr>
          <p:nvPr>
            <p:ph type="title"/>
          </p:nvPr>
        </p:nvSpPr>
        <p:spPr>
          <a:xfrm>
            <a:off x="504000" y="-1"/>
            <a:ext cx="8136000" cy="771525"/>
          </a:xfrm>
        </p:spPr>
        <p:txBody>
          <a:bodyPr vert="horz"/>
          <a:lstStyle/>
          <a:p>
            <a:r>
              <a:rPr lang="en-US" dirty="0">
                <a:highlight>
                  <a:srgbClr val="FFFF00"/>
                </a:highlight>
              </a:rPr>
              <a:t>Promo Value Sale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3" name="T1">
            <a:extLst>
              <a:ext uri="{FF2B5EF4-FFF2-40B4-BE49-F238E27FC236}">
                <a16:creationId xmlns:a16="http://schemas.microsoft.com/office/drawing/2014/main" id="{BF02A555-6E65-401F-8EC5-C5F12914697A}"/>
              </a:ext>
            </a:extLst>
          </p:cNvPr>
          <p:cNvGraphicFramePr>
            <a:graphicFrameLocks noGrp="1"/>
          </p:cNvGraphicFramePr>
          <p:nvPr>
            <p:extLst>
              <p:ext uri="{D42A27DB-BD31-4B8C-83A1-F6EECF244321}">
                <p14:modId xmlns:p14="http://schemas.microsoft.com/office/powerpoint/2010/main" val="1525538058"/>
              </p:ext>
            </p:extLst>
          </p:nvPr>
        </p:nvGraphicFramePr>
        <p:xfrm>
          <a:off x="503239" y="1135924"/>
          <a:ext cx="8135249" cy="3593521"/>
        </p:xfrm>
        <a:graphic>
          <a:graphicData uri="http://schemas.openxmlformats.org/drawingml/2006/table">
            <a:tbl>
              <a:tblPr firstRow="1" bandRow="1">
                <a:tableStyleId>{5C22544A-7EE6-4342-B048-85BDC9FD1C3A}</a:tableStyleId>
              </a:tblPr>
              <a:tblGrid>
                <a:gridCol w="3267467">
                  <a:extLst>
                    <a:ext uri="{9D8B030D-6E8A-4147-A177-3AD203B41FA5}">
                      <a16:colId xmlns:a16="http://schemas.microsoft.com/office/drawing/2014/main" val="3448994177"/>
                    </a:ext>
                  </a:extLst>
                </a:gridCol>
                <a:gridCol w="1622594">
                  <a:extLst>
                    <a:ext uri="{9D8B030D-6E8A-4147-A177-3AD203B41FA5}">
                      <a16:colId xmlns:a16="http://schemas.microsoft.com/office/drawing/2014/main" val="2473100970"/>
                    </a:ext>
                  </a:extLst>
                </a:gridCol>
                <a:gridCol w="1622594">
                  <a:extLst>
                    <a:ext uri="{9D8B030D-6E8A-4147-A177-3AD203B41FA5}">
                      <a16:colId xmlns:a16="http://schemas.microsoft.com/office/drawing/2014/main" val="2423864541"/>
                    </a:ext>
                  </a:extLst>
                </a:gridCol>
                <a:gridCol w="1622594">
                  <a:extLst>
                    <a:ext uri="{9D8B030D-6E8A-4147-A177-3AD203B41FA5}">
                      <a16:colId xmlns:a16="http://schemas.microsoft.com/office/drawing/2014/main" val="2739512296"/>
                    </a:ext>
                  </a:extLst>
                </a:gridCol>
              </a:tblGrid>
              <a:tr h="353761">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kern="1200" dirty="0">
                          <a:solidFill>
                            <a:schemeClr val="tx2"/>
                          </a:solidFill>
                          <a:latin typeface="Nexa Bold" panose="00000800000000000000" pitchFamily="2" charset="0"/>
                          <a:ea typeface="+mn-ea"/>
                          <a:cs typeface="+mn-cs"/>
                        </a:rPr>
                        <a:t>Brand</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latin typeface="Nexa Bold" panose="00000800000000000000" pitchFamily="2" charset="0"/>
                        </a:rPr>
                        <a:t>Volume Sold on Deal (VSOD)</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462688398"/>
                  </a:ext>
                </a:extLst>
              </a:tr>
              <a:tr h="539960">
                <a:tc>
                  <a:txBody>
                    <a:bodyPr/>
                    <a:lstStyle/>
                    <a:p>
                      <a:pPr algn="ctr" fontAlgn="b"/>
                      <a:r>
                        <a:rPr lang="en-US" sz="800" b="0" dirty="0">
                          <a:solidFill>
                            <a:schemeClr val="tx1"/>
                          </a:solidFill>
                          <a:latin typeface="Nexa Bold" panose="00000800000000000000" pitchFamily="2" charset="0"/>
                        </a:rPr>
                        <a:t>Hershey’s</a:t>
                      </a:r>
                      <a:endParaRPr lang="en-CH" sz="800" b="0" dirty="0">
                        <a:solidFill>
                          <a:schemeClr val="tx1"/>
                        </a:solidFill>
                        <a:latin typeface="Nexa Bold" panose="00000800000000000000" pitchFamily="2"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06,638,856</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fontAlgn="b"/>
                      <a:r>
                        <a:rPr lang="en-AE" sz="800">
                          <a:solidFill>
                            <a:srgbClr val="575555"/>
                          </a:solidFill>
                          <a:latin typeface="Nexa Book" panose="00000400000000000000" pitchFamily="50" charset="0"/>
                        </a:rPr>
                        <a:t>4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48</a:t>
                      </a:r>
                    </a:p>
                  </a:txBody>
                  <a:tcPr marL="7144" marR="7144" marT="7144" marB="0" anchor="ctr">
                    <a:lnL w="9525" cap="flat" cmpd="sng" algn="ctr">
                      <a:solidFill>
                        <a:schemeClr val="bg2">
                          <a:lumMod val="90000"/>
                        </a:schemeClr>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60720945"/>
                  </a:ext>
                </a:extLst>
              </a:tr>
              <a:tr h="53996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Ritter Sport</a:t>
                      </a:r>
                      <a:endParaRPr lang="en-CH" sz="800" b="0" dirty="0">
                        <a:solidFill>
                          <a:schemeClr val="tx1"/>
                        </a:solidFill>
                        <a:latin typeface="Nexa Bold" panose="00000800000000000000" pitchFamily="2"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756,57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59</a:t>
                      </a:r>
                    </a:p>
                  </a:txBody>
                  <a:tcPr marL="7144" marR="7144" marT="7144" marB="0" anchor="ctr">
                    <a:lnL w="9525" cap="flat" cmpd="sng" algn="ctr">
                      <a:solidFill>
                        <a:schemeClr val="bg2">
                          <a:lumMod val="90000"/>
                        </a:schemeClr>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02289453"/>
                  </a:ext>
                </a:extLst>
              </a:tr>
              <a:tr h="539960">
                <a:tc>
                  <a:txBody>
                    <a:bodyPr/>
                    <a:lstStyle/>
                    <a:p>
                      <a:pPr algn="ctr" fontAlgn="b"/>
                      <a:r>
                        <a:rPr lang="en-US" sz="800" b="0">
                          <a:solidFill>
                            <a:schemeClr val="tx1"/>
                          </a:solidFill>
                          <a:latin typeface="Nexa Bold" panose="00000800000000000000" pitchFamily="2" charset="0"/>
                        </a:rPr>
                        <a:t>Lindt</a:t>
                      </a:r>
                      <a:endParaRPr lang="en-CH" sz="800" b="0">
                        <a:solidFill>
                          <a:schemeClr val="tx1"/>
                        </a:solidFill>
                        <a:latin typeface="Nexa Bold" panose="00000800000000000000" pitchFamily="2"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106,05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67</a:t>
                      </a:r>
                    </a:p>
                  </a:txBody>
                  <a:tcPr marL="7144" marR="7144" marT="7144" marB="0" anchor="ctr">
                    <a:lnL w="9525" cap="flat" cmpd="sng" algn="ctr">
                      <a:solidFill>
                        <a:schemeClr val="bg2">
                          <a:lumMod val="90000"/>
                        </a:schemeClr>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0622677"/>
                  </a:ext>
                </a:extLst>
              </a:tr>
              <a:tr h="53996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chemeClr val="tx1"/>
                          </a:solidFill>
                          <a:latin typeface="Nexa Bold" panose="00000800000000000000" pitchFamily="2" charset="0"/>
                        </a:rPr>
                        <a:t>Other</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955,47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86</a:t>
                      </a:r>
                    </a:p>
                  </a:txBody>
                  <a:tcPr marL="7144" marR="7144" marT="7144" marB="0" anchor="ctr">
                    <a:lnL w="9525" cap="flat" cmpd="sng" algn="ctr">
                      <a:solidFill>
                        <a:schemeClr val="bg2">
                          <a:lumMod val="90000"/>
                        </a:schemeClr>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873458588"/>
                  </a:ext>
                </a:extLst>
              </a:tr>
              <a:tr h="539960">
                <a:tc>
                  <a:txBody>
                    <a:bodyPr/>
                    <a:lstStyle/>
                    <a:p>
                      <a:pPr algn="ctr" fontAlgn="b"/>
                      <a:r>
                        <a:rPr lang="en-US" sz="800" b="0">
                          <a:solidFill>
                            <a:schemeClr val="tx1"/>
                          </a:solidFill>
                          <a:latin typeface="Nexa Bold" panose="00000800000000000000" pitchFamily="2" charset="0"/>
                        </a:rPr>
                        <a:t>Mars</a:t>
                      </a:r>
                      <a:endParaRPr lang="en-CH" sz="800" b="0">
                        <a:solidFill>
                          <a:schemeClr val="tx1"/>
                        </a:solidFill>
                        <a:latin typeface="Nexa Bold" panose="00000800000000000000" pitchFamily="2"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030,87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b="0" dirty="0">
                          <a:solidFill>
                            <a:srgbClr val="575555"/>
                          </a:solidFill>
                          <a:latin typeface="Nexa Book" panose="00000400000000000000" pitchFamily="50" charset="0"/>
                        </a:rPr>
                        <a:t>340</a:t>
                      </a:r>
                    </a:p>
                  </a:txBody>
                  <a:tcPr marL="7144" marR="7144" marT="7144" marB="0" anchor="ctr">
                    <a:lnL w="9525" cap="flat" cmpd="sng" algn="ctr">
                      <a:solidFill>
                        <a:schemeClr val="bg2">
                          <a:lumMod val="90000"/>
                        </a:schemeClr>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8017"/>
                  </a:ext>
                </a:extLst>
              </a:tr>
              <a:tr h="539960">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kern="1200" dirty="0">
                          <a:solidFill>
                            <a:schemeClr val="tx1"/>
                          </a:solidFill>
                          <a:latin typeface="Nexa Bold" panose="00000800000000000000" pitchFamily="2" charset="0"/>
                          <a:ea typeface="+mn-ea"/>
                          <a:cs typeface="+mn-cs"/>
                        </a:rPr>
                        <a:t>Kisses</a:t>
                      </a:r>
                      <a:endParaRPr lang="en-CH" sz="800" b="0" kern="1200" dirty="0">
                        <a:solidFill>
                          <a:schemeClr val="tx1"/>
                        </a:solidFill>
                        <a:latin typeface="Nexa Bold" panose="00000800000000000000" pitchFamily="2" charset="0"/>
                        <a:ea typeface="+mn-ea"/>
                        <a:cs typeface="+mn-cs"/>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701,4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7</a:t>
                      </a:r>
                    </a:p>
                  </a:txBody>
                  <a:tcPr marL="7144" marR="7144" marT="7144" marB="0" anchor="ctr">
                    <a:lnL w="9525" cap="flat" cmpd="sng" algn="ctr">
                      <a:solidFill>
                        <a:schemeClr val="bg2">
                          <a:lumMod val="90000"/>
                        </a:schemeClr>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62945495"/>
                  </a:ext>
                </a:extLst>
              </a:tr>
            </a:tbl>
          </a:graphicData>
        </a:graphic>
      </p:graphicFrame>
    </p:spTree>
    <p:extLst>
      <p:ext uri="{BB962C8B-B14F-4D97-AF65-F5344CB8AC3E}">
        <p14:creationId xmlns:p14="http://schemas.microsoft.com/office/powerpoint/2010/main" val="138010235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1/27/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rPr lang="da-DK" dirty="0"/>
              <a:t>Data Source l Trade Panel l Ending March 2022</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r>
              <a:rPr lang="en-US"/>
              <a:t>Volume Sold on Deal | National | P12M</a:t>
            </a:r>
            <a:endParaRPr lang="en-CH"/>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Category</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err="1">
                          <a:solidFill>
                            <a:schemeClr val="tx2"/>
                          </a:solidFill>
                          <a:latin typeface="Nexa Bold" panose="00000800000000000000" pitchFamily="2" charset="0"/>
                        </a:rPr>
                        <a:t>Gerolsteiner</a:t>
                      </a:r>
                      <a:endParaRPr lang="en-US" sz="900" b="0" i="0" dirty="0">
                        <a:solidFill>
                          <a:schemeClr val="tx2"/>
                        </a:solidFill>
                        <a:latin typeface="Nexa Bold" panose="000008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dirty="0">
                          <a:solidFill>
                            <a:schemeClr val="tx2"/>
                          </a:solidFill>
                          <a:latin typeface="Nexa Bold" panose="00000800000000000000" pitchFamily="2" charset="0"/>
                          <a:ea typeface="+mn-ea"/>
                          <a:cs typeface="+mn-cs"/>
                        </a:rPr>
                        <a:t>Volume</a:t>
                      </a:r>
                      <a:r>
                        <a:rPr lang="en-US" sz="900" b="0" i="0" dirty="0">
                          <a:solidFill>
                            <a:schemeClr val="tx2"/>
                          </a:solidFill>
                          <a:latin typeface="Nexa Bold" panose="00000800000000000000" pitchFamily="2" charset="0"/>
                        </a:rPr>
                        <a:t>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59948">
                <a:tc>
                  <a:txBody>
                    <a:bodyPr/>
                    <a:lstStyle/>
                    <a:p>
                      <a:pPr algn="ctr" fontAlgn="b"/>
                      <a:r>
                        <a:rPr lang="en-US" sz="800" b="0" i="0" dirty="0">
                          <a:solidFill>
                            <a:srgbClr val="575555"/>
                          </a:solidFill>
                          <a:latin typeface="Nexa Bold" panose="00000800000000000000" pitchFamily="2" charset="0"/>
                        </a:rPr>
                        <a:t>Categor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165046662"/>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1</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u="none" strike="noStrike">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2</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3</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a:solidFill>
                          <a:srgbClr val="575555"/>
                        </a:solidFill>
                        <a:latin typeface="Nexa Book" panose="00000400000000000000" pitchFamily="50"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459948">
                <a:tc>
                  <a:txBody>
                    <a:bodyPr/>
                    <a:lstStyle/>
                    <a:p>
                      <a:pPr algn="ctr" fontAlgn="b"/>
                      <a:r>
                        <a:rPr lang="en-US" sz="800" b="0" i="0">
                          <a:solidFill>
                            <a:srgbClr val="575555"/>
                          </a:solidFill>
                          <a:latin typeface="Nexa Bold" panose="00000800000000000000" pitchFamily="2" charset="0"/>
                        </a:rPr>
                        <a:t>Sector 4</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67708359"/>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5</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0741977"/>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6</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4663751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1/27/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Promo Share vs. Fair Share | Category | National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1</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9</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06</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0</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57</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5</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13983820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3379700375"/>
              </p:ext>
            </p:extLst>
          </p:nvPr>
        </p:nvGraphicFramePr>
        <p:xfrm>
          <a:off x="531784" y="1141199"/>
          <a:ext cx="8118506" cy="3543300"/>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354330">
                <a:tc>
                  <a:txBody>
                    <a:bodyPr/>
                    <a:lstStyle/>
                    <a:p>
                      <a:pPr algn="l" fontAlgn="b"/>
                      <a:r>
                        <a:rPr lang="en-US" sz="900" dirty="0" err="1">
                          <a:solidFill>
                            <a:srgbClr val="575555"/>
                          </a:solidFill>
                          <a:latin typeface="Nexa Bold"/>
                        </a:rPr>
                        <a:t>Arbi</a:t>
                      </a:r>
                      <a:r>
                        <a:rPr lang="en-US" sz="900" dirty="0">
                          <a:solidFill>
                            <a:srgbClr val="575555"/>
                          </a:solidFill>
                          <a:latin typeface="Nexa Bold"/>
                        </a:rPr>
                        <a:t> Dario Sp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074376805"/>
                  </a:ext>
                </a:extLst>
              </a:tr>
              <a:tr h="354330">
                <a:tc>
                  <a:txBody>
                    <a:bodyPr/>
                    <a:lstStyle/>
                    <a:p>
                      <a:pPr algn="l" fontAlgn="b"/>
                      <a:r>
                        <a:rPr lang="en-US" sz="900">
                          <a:solidFill>
                            <a:srgbClr val="575555"/>
                          </a:solidFill>
                          <a:latin typeface="Nexa Bold"/>
                        </a:rPr>
                        <a:t>Esca Sr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335245974"/>
                  </a:ext>
                </a:extLst>
              </a:tr>
              <a:tr h="354330">
                <a:tc>
                  <a:txBody>
                    <a:bodyPr/>
                    <a:lstStyle/>
                    <a:p>
                      <a:pPr algn="l" fontAlgn="b"/>
                      <a:r>
                        <a:rPr lang="en-US" sz="900" dirty="0">
                          <a:solidFill>
                            <a:srgbClr val="575555"/>
                          </a:solidFill>
                          <a:latin typeface="Nexa Bold"/>
                        </a:rPr>
                        <a:t>Findu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967797037"/>
                  </a:ext>
                </a:extLst>
              </a:tr>
              <a:tr h="354330">
                <a:tc>
                  <a:txBody>
                    <a:bodyPr/>
                    <a:lstStyle/>
                    <a:p>
                      <a:pPr algn="l" fontAlgn="b"/>
                      <a:r>
                        <a:rPr lang="en-US" sz="900" dirty="0" err="1">
                          <a:solidFill>
                            <a:srgbClr val="575555"/>
                          </a:solidFill>
                          <a:latin typeface="Nexa Bold"/>
                        </a:rPr>
                        <a:t>Frosta</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54330">
                <a:tc>
                  <a:txBody>
                    <a:bodyPr/>
                    <a:lstStyle/>
                    <a:p>
                      <a:pPr algn="l" fontAlgn="b"/>
                      <a:r>
                        <a:rPr lang="en-US" sz="900">
                          <a:solidFill>
                            <a:srgbClr val="575555"/>
                          </a:solidFill>
                          <a:latin typeface="Nexa Bold"/>
                        </a:rPr>
                        <a:t>Krusta Group</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54330">
                <a:tc>
                  <a:txBody>
                    <a:bodyPr/>
                    <a:lstStyle/>
                    <a:p>
                      <a:pPr algn="l" fontAlgn="b"/>
                      <a:r>
                        <a:rPr lang="en-US" sz="900" dirty="0">
                          <a:solidFill>
                            <a:srgbClr val="575555"/>
                          </a:solidFill>
                          <a:latin typeface="Nexa Bold"/>
                        </a:rPr>
                        <a:t>New Food</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54330">
                <a:tc>
                  <a:txBody>
                    <a:bodyPr/>
                    <a:lstStyle/>
                    <a:p>
                      <a:pPr algn="l" fontAlgn="b"/>
                      <a:r>
                        <a:rPr lang="en-US" sz="900">
                          <a:solidFill>
                            <a:srgbClr val="575555"/>
                          </a:solidFill>
                          <a:latin typeface="Nexa Bold"/>
                        </a:rPr>
                        <a:t>Panapesc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54330">
                <a:tc>
                  <a:txBody>
                    <a:bodyPr/>
                    <a:lstStyle/>
                    <a:p>
                      <a:pPr algn="l" fontAlgn="b"/>
                      <a:r>
                        <a:rPr lang="en-US" sz="900" dirty="0" err="1">
                          <a:solidFill>
                            <a:srgbClr val="575555"/>
                          </a:solidFill>
                          <a:latin typeface="Nexa Bold"/>
                        </a:rPr>
                        <a:t>Pescanova</a:t>
                      </a:r>
                      <a:r>
                        <a:rPr lang="en-US" sz="900" dirty="0">
                          <a:solidFill>
                            <a:srgbClr val="575555"/>
                          </a:solidFill>
                          <a:latin typeface="Nexa Bold"/>
                        </a:rPr>
                        <a:t> S.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54330">
                <a:tc>
                  <a:txBody>
                    <a:bodyPr/>
                    <a:lstStyle/>
                    <a:p>
                      <a:pPr algn="l" fontAlgn="b"/>
                      <a:r>
                        <a:rPr lang="en-US" sz="900" dirty="0">
                          <a:solidFill>
                            <a:srgbClr val="575555"/>
                          </a:solidFill>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4</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54330">
                <a:tc>
                  <a:txBody>
                    <a:bodyPr/>
                    <a:lstStyle/>
                    <a:p>
                      <a:pPr algn="l" fontAlgn="b"/>
                      <a:r>
                        <a:rPr lang="en-US" sz="900" dirty="0">
                          <a:solidFill>
                            <a:srgbClr val="575555"/>
                          </a:solidFill>
                          <a:latin typeface="Nexa Bold"/>
                        </a:rPr>
                        <a:t>Pricing 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1/27/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a:t>% Promo sales by total siz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322732161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3480333851"/>
              </p:ext>
            </p:extLst>
          </p:nvPr>
        </p:nvGraphicFramePr>
        <p:xfrm>
          <a:off x="545319" y="1135374"/>
          <a:ext cx="8083425" cy="318897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54330">
                <a:tc>
                  <a:txBody>
                    <a:bodyPr/>
                    <a:lstStyle/>
                    <a:p>
                      <a:pPr algn="l" fontAlgn="b"/>
                      <a:r>
                        <a:rPr lang="en-US" sz="900" dirty="0" err="1">
                          <a:solidFill>
                            <a:srgbClr val="575555"/>
                          </a:solidFill>
                          <a:latin typeface="Nexa Bold"/>
                        </a:rPr>
                        <a:t>Arbi</a:t>
                      </a:r>
                      <a:r>
                        <a:rPr lang="en-US" sz="900" dirty="0">
                          <a:solidFill>
                            <a:srgbClr val="575555"/>
                          </a:solidFill>
                          <a:latin typeface="Nexa Bold"/>
                        </a:rPr>
                        <a:t> Dario Sp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074376805"/>
                  </a:ext>
                </a:extLst>
              </a:tr>
              <a:tr h="354330">
                <a:tc>
                  <a:txBody>
                    <a:bodyPr/>
                    <a:lstStyle/>
                    <a:p>
                      <a:pPr algn="l" fontAlgn="b"/>
                      <a:r>
                        <a:rPr lang="en-US" sz="900" dirty="0">
                          <a:solidFill>
                            <a:srgbClr val="575555"/>
                          </a:solidFill>
                          <a:latin typeface="Nexa Bold"/>
                        </a:rPr>
                        <a:t>Esca </a:t>
                      </a:r>
                      <a:r>
                        <a:rPr lang="en-US" sz="900" dirty="0" err="1">
                          <a:solidFill>
                            <a:srgbClr val="575555"/>
                          </a:solidFill>
                          <a:latin typeface="Nexa Bold"/>
                        </a:rPr>
                        <a:t>Srl</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335245974"/>
                  </a:ext>
                </a:extLst>
              </a:tr>
              <a:tr h="354330">
                <a:tc>
                  <a:txBody>
                    <a:bodyPr/>
                    <a:lstStyle/>
                    <a:p>
                      <a:pPr algn="l" fontAlgn="b"/>
                      <a:r>
                        <a:rPr lang="en-US" sz="900">
                          <a:solidFill>
                            <a:srgbClr val="575555"/>
                          </a:solidFill>
                          <a:latin typeface="Nexa Bold"/>
                        </a:rPr>
                        <a:t>Findu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967797037"/>
                  </a:ext>
                </a:extLst>
              </a:tr>
              <a:tr h="354330">
                <a:tc>
                  <a:txBody>
                    <a:bodyPr/>
                    <a:lstStyle/>
                    <a:p>
                      <a:pPr algn="l" fontAlgn="b"/>
                      <a:r>
                        <a:rPr lang="en-US" sz="900">
                          <a:solidFill>
                            <a:srgbClr val="575555"/>
                          </a:solidFill>
                          <a:latin typeface="Nexa Bold"/>
                        </a:rPr>
                        <a:t>Frost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54330">
                <a:tc>
                  <a:txBody>
                    <a:bodyPr/>
                    <a:lstStyle/>
                    <a:p>
                      <a:pPr algn="l" fontAlgn="b"/>
                      <a:r>
                        <a:rPr lang="en-US" sz="900">
                          <a:solidFill>
                            <a:srgbClr val="575555"/>
                          </a:solidFill>
                          <a:latin typeface="Nexa Bold"/>
                        </a:rPr>
                        <a:t>Krusta Group</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54330">
                <a:tc>
                  <a:txBody>
                    <a:bodyPr/>
                    <a:lstStyle/>
                    <a:p>
                      <a:pPr algn="l" fontAlgn="b"/>
                      <a:r>
                        <a:rPr lang="en-US" sz="900">
                          <a:solidFill>
                            <a:srgbClr val="575555"/>
                          </a:solidFill>
                          <a:latin typeface="Nexa Bold"/>
                        </a:rPr>
                        <a:t>New Food</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54330">
                <a:tc>
                  <a:txBody>
                    <a:bodyPr/>
                    <a:lstStyle/>
                    <a:p>
                      <a:pPr algn="l" fontAlgn="b"/>
                      <a:r>
                        <a:rPr lang="en-US" sz="900">
                          <a:solidFill>
                            <a:srgbClr val="575555"/>
                          </a:solidFill>
                          <a:latin typeface="Nexa Bold"/>
                        </a:rPr>
                        <a:t>Panapesc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54330">
                <a:tc>
                  <a:txBody>
                    <a:bodyPr/>
                    <a:lstStyle/>
                    <a:p>
                      <a:pPr algn="l" fontAlgn="b"/>
                      <a:r>
                        <a:rPr lang="en-US" sz="900">
                          <a:solidFill>
                            <a:srgbClr val="575555"/>
                          </a:solidFill>
                          <a:latin typeface="Nexa Bold"/>
                        </a:rPr>
                        <a:t>Pescanova S.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54330">
                <a:tc>
                  <a:txBody>
                    <a:bodyPr/>
                    <a:lstStyle/>
                    <a:p>
                      <a:pPr algn="l" fontAlgn="b"/>
                      <a:r>
                        <a:rPr lang="en-US" sz="900" dirty="0">
                          <a:solidFill>
                            <a:srgbClr val="575555"/>
                          </a:solidFill>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lvl="0"/>
            <a:fld id="{2AF1C2FF-ACA0-49C7-A9AF-43632D3B35F3}" type="datetime1">
              <a:rPr lang="en-US" noProof="0" smtClean="0"/>
              <a:pPr lvl="0"/>
              <a:t>1/27/2025</a:t>
            </a:fld>
            <a:endParaRPr lang="en-US" noProof="0"/>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lvl="0"/>
            <a:endParaRPr lang="en-US" noProof="0"/>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815123151"/>
              </p:ext>
            </p:extLst>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55465978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0870992-F0EF-B48B-C512-CAB0263607E5}"/>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0870992-F0EF-B48B-C512-CAB0263607E5}"/>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30F8263A-2178-A954-F534-006365993B28}"/>
              </a:ext>
            </a:extLst>
          </p:cNvPr>
          <p:cNvSpPr>
            <a:spLocks noGrp="1"/>
          </p:cNvSpPr>
          <p:nvPr>
            <p:ph type="dt" sz="half" idx="14"/>
          </p:nvPr>
        </p:nvSpPr>
        <p:spPr>
          <a:xfrm>
            <a:off x="8082390" y="4972050"/>
            <a:ext cx="557609" cy="171450"/>
          </a:xfrm>
        </p:spPr>
        <p:txBody>
          <a:bodyPr/>
          <a:lstStyle/>
          <a:p>
            <a:pPr lvl="0"/>
            <a:fld id="{ECE2348F-4A5E-4377-BC6E-44DA80E64CED}" type="datetime1">
              <a:rPr lang="en-US" noProof="0" smtClean="0"/>
              <a:pPr lvl="0"/>
              <a:t>1/27/2025</a:t>
            </a:fld>
            <a:endParaRPr lang="en-US" noProof="0"/>
          </a:p>
        </p:txBody>
      </p:sp>
      <p:sp>
        <p:nvSpPr>
          <p:cNvPr id="9" name="Footer Placeholder 8">
            <a:extLst>
              <a:ext uri="{FF2B5EF4-FFF2-40B4-BE49-F238E27FC236}">
                <a16:creationId xmlns:a16="http://schemas.microsoft.com/office/drawing/2014/main" id="{4DCD2A08-01E5-6C57-C2F4-7845774327A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E87B52AC-8018-1DEA-CAEA-DD623D44C3F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pPr lvl="0"/>
            <a:r>
              <a:rPr lang="da-DK" noProof="0" dirty="0"/>
              <a:t>Data Source | Nielsen | Ending Mar 2022</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dirty="0"/>
              <a:t>Feature</a:t>
            </a:r>
            <a:r>
              <a:rPr lang="en-AE" dirty="0"/>
              <a:t> </a:t>
            </a:r>
            <a:r>
              <a:rPr lang="en-US" dirty="0"/>
              <a:t>Share vs. Fair Share </a:t>
            </a:r>
            <a:r>
              <a:rPr lang="en-US"/>
              <a:t>| Retailer </a:t>
            </a:r>
            <a:r>
              <a:rPr lang="en-AE" dirty="0"/>
              <a:t>| </a:t>
            </a:r>
            <a:r>
              <a:rPr lang="en-US" dirty="0"/>
              <a:t>P12M</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r>
              <a:rPr lang="en-US" dirty="0">
                <a:highlight>
                  <a:srgbClr val="FFFF00"/>
                </a:highlight>
              </a:rPr>
              <a:t>Feature Share vs. Fair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6"/>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49"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fr-FR" sz="600" b="0" i="0" u="none" strike="noStrike" kern="1200" cap="none" spc="0" normalizeH="0" baseline="0" noProof="0">
              <a:ln>
                <a:noFill/>
              </a:ln>
              <a:solidFill>
                <a:srgbClr val="00A097"/>
              </a:solidFill>
              <a:effectLst/>
              <a:uLnTx/>
              <a:uFillTx/>
              <a:latin typeface="Raleway" panose="020B0503030101060003"/>
              <a:ea typeface="+mn-ea"/>
              <a:cs typeface="+mn-cs"/>
            </a:endParaRPr>
          </a:p>
        </p:txBody>
      </p:sp>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236849936"/>
              </p:ext>
            </p:extLst>
          </p:nvPr>
        </p:nvGraphicFramePr>
        <p:xfrm>
          <a:off x="537483" y="1137274"/>
          <a:ext cx="8096662" cy="3595064"/>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405213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41BD8230-08F6-6B04-600B-F5771ED4BCB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41BD8230-08F6-6B04-600B-F5771ED4BCB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30F8263A-2178-A954-F534-006365993B28}"/>
              </a:ext>
            </a:extLst>
          </p:cNvPr>
          <p:cNvSpPr>
            <a:spLocks noGrp="1"/>
          </p:cNvSpPr>
          <p:nvPr>
            <p:ph type="dt" sz="half" idx="14"/>
          </p:nvPr>
        </p:nvSpPr>
        <p:spPr>
          <a:xfrm>
            <a:off x="8082390" y="4972050"/>
            <a:ext cx="557609" cy="171450"/>
          </a:xfrm>
        </p:spPr>
        <p:txBody>
          <a:bodyPr/>
          <a:lstStyle/>
          <a:p>
            <a:pPr lvl="0"/>
            <a:fld id="{4AF59A4A-DBA3-4B15-9761-DDCAB7C5C67C}" type="datetime1">
              <a:rPr lang="en-US" noProof="0" smtClean="0"/>
              <a:pPr lvl="0"/>
              <a:t>1/27/2025</a:t>
            </a:fld>
            <a:endParaRPr lang="en-US" noProof="0"/>
          </a:p>
        </p:txBody>
      </p:sp>
      <p:sp>
        <p:nvSpPr>
          <p:cNvPr id="9" name="Footer Placeholder 8">
            <a:extLst>
              <a:ext uri="{FF2B5EF4-FFF2-40B4-BE49-F238E27FC236}">
                <a16:creationId xmlns:a16="http://schemas.microsoft.com/office/drawing/2014/main" id="{577D2D85-84DF-541E-528E-A6A57B5D4C3C}"/>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C09D557A-3BE9-D9F6-C3E6-D81AC7A58ABC}"/>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pPr lvl="0"/>
            <a:r>
              <a:rPr lang="da-DK" noProof="0"/>
              <a:t>Data Source | Nielsen | Ending Mar 2022</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Display</a:t>
            </a:r>
            <a:r>
              <a:rPr lang="en-AE"/>
              <a:t> </a:t>
            </a:r>
            <a:r>
              <a:rPr lang="en-US"/>
              <a:t>Share vs. Fair Share | Retailer </a:t>
            </a:r>
            <a:r>
              <a:rPr lang="en-AE"/>
              <a:t>| </a:t>
            </a:r>
            <a:r>
              <a:rPr lang="en-US"/>
              <a:t>P12M</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r>
              <a:rPr lang="en-US" dirty="0">
                <a:highlight>
                  <a:srgbClr val="FFFF00"/>
                </a:highlight>
              </a:rPr>
              <a:t>Display Share vs. Fair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6"/>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49"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fr-FR" sz="600" b="0" i="0" u="none" strike="noStrike" kern="1200" cap="none" spc="0" normalizeH="0" baseline="0" noProof="0">
              <a:ln>
                <a:noFill/>
              </a:ln>
              <a:solidFill>
                <a:srgbClr val="00A097"/>
              </a:solidFill>
              <a:effectLst/>
              <a:uLnTx/>
              <a:uFillTx/>
              <a:latin typeface="Raleway" panose="020B0503030101060003"/>
              <a:ea typeface="+mn-ea"/>
              <a:cs typeface="+mn-cs"/>
            </a:endParaRPr>
          </a:p>
        </p:txBody>
      </p:sp>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222046809"/>
              </p:ext>
            </p:extLst>
          </p:nvPr>
        </p:nvGraphicFramePr>
        <p:xfrm>
          <a:off x="540726" y="1137272"/>
          <a:ext cx="8096662" cy="3596834"/>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0072098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1/27/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dirty="0"/>
              <a:t>Promo Frequency learnings | Category | Brand | National</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Value Sales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57683773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1/27/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dirty="0"/>
              <a:t>Data Source | Trade Panel</a:t>
            </a:r>
            <a:endParaRPr lang="en-GB" dirty="0"/>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a:t>Promo sales per retailer | Findus | Fish Fingers</a:t>
            </a:r>
            <a:endParaRPr lang="en-CH"/>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3888019475"/>
              </p:ext>
            </p:extLst>
          </p:nvPr>
        </p:nvGraphicFramePr>
        <p:xfrm>
          <a:off x="539750" y="1131888"/>
          <a:ext cx="216000" cy="3099737"/>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3099737">
                <a:tc>
                  <a:txBody>
                    <a:bodyPr/>
                    <a:lstStyle/>
                    <a:p>
                      <a:pPr algn="ctr"/>
                      <a:r>
                        <a:rPr lang="en-US" sz="800" dirty="0" err="1">
                          <a:latin typeface="Nexa Bold" panose="00000800000000000000" pitchFamily="2" charset="0"/>
                        </a:rPr>
                        <a:t>Esselunga</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2799006142"/>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2105157745"/>
              </p:ext>
            </p:extLst>
          </p:nvPr>
        </p:nvGraphicFramePr>
        <p:xfrm>
          <a:off x="797668" y="1123942"/>
          <a:ext cx="7843095" cy="3608396"/>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97437163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1/27/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a:t>Promo sales per retailer | Findus | Fish Fingers</a:t>
            </a:r>
            <a:endParaRPr lang="en-CH"/>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ontent Placeholder 19">
            <a:extLst>
              <a:ext uri="{FF2B5EF4-FFF2-40B4-BE49-F238E27FC236}">
                <a16:creationId xmlns:a16="http://schemas.microsoft.com/office/drawing/2014/main" id="{9F2B971D-B103-BD41-69B0-5B94255F8973}"/>
              </a:ext>
            </a:extLst>
          </p:cNvPr>
          <p:cNvGraphicFramePr>
            <a:graphicFrameLocks/>
          </p:cNvGraphicFramePr>
          <p:nvPr>
            <p:extLst>
              <p:ext uri="{D42A27DB-BD31-4B8C-83A1-F6EECF244321}">
                <p14:modId xmlns:p14="http://schemas.microsoft.com/office/powerpoint/2010/main" val="588380682"/>
              </p:ext>
            </p:extLst>
          </p:nvPr>
        </p:nvGraphicFramePr>
        <p:xfrm>
          <a:off x="797668" y="1152000"/>
          <a:ext cx="7842332" cy="154617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1632237063"/>
              </p:ext>
            </p:extLst>
          </p:nvPr>
        </p:nvGraphicFramePr>
        <p:xfrm>
          <a:off x="541177" y="1131888"/>
          <a:ext cx="216000" cy="3104140"/>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1552070">
                <a:tc>
                  <a:txBody>
                    <a:bodyPr/>
                    <a:lstStyle/>
                    <a:p>
                      <a:pPr algn="ctr"/>
                      <a:r>
                        <a:rPr lang="en-US" sz="800" dirty="0" err="1">
                          <a:latin typeface="Nexa Bold" panose="00000800000000000000" pitchFamily="2" charset="0"/>
                        </a:rPr>
                        <a:t>Esselunga</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2799006142"/>
                  </a:ext>
                </a:extLst>
              </a:tr>
              <a:tr h="1552070">
                <a:tc>
                  <a:txBody>
                    <a:bodyPr/>
                    <a:lstStyle/>
                    <a:p>
                      <a:pPr algn="ctr"/>
                      <a:r>
                        <a:rPr lang="en-US" sz="800" dirty="0">
                          <a:latin typeface="Nexa Bold" panose="00000800000000000000" pitchFamily="2" charset="0"/>
                        </a:rPr>
                        <a:t>Gruppo Pam</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2165667793"/>
              </p:ext>
            </p:extLst>
          </p:nvPr>
        </p:nvGraphicFramePr>
        <p:xfrm>
          <a:off x="797668" y="2910213"/>
          <a:ext cx="7842332" cy="1822543"/>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16457931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1/27/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a:t>Promo sales per retailer | Findus | Fish Fingers</a:t>
            </a:r>
            <a:endParaRPr lang="en-CH"/>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ontent Placeholder 19">
            <a:extLst>
              <a:ext uri="{FF2B5EF4-FFF2-40B4-BE49-F238E27FC236}">
                <a16:creationId xmlns:a16="http://schemas.microsoft.com/office/drawing/2014/main" id="{9F2B971D-B103-BD41-69B0-5B94255F8973}"/>
              </a:ext>
            </a:extLst>
          </p:cNvPr>
          <p:cNvGraphicFramePr>
            <a:graphicFrameLocks/>
          </p:cNvGraphicFramePr>
          <p:nvPr>
            <p:extLst>
              <p:ext uri="{D42A27DB-BD31-4B8C-83A1-F6EECF244321}">
                <p14:modId xmlns:p14="http://schemas.microsoft.com/office/powerpoint/2010/main" val="1035301684"/>
              </p:ext>
            </p:extLst>
          </p:nvPr>
        </p:nvGraphicFramePr>
        <p:xfrm>
          <a:off x="797668" y="1134892"/>
          <a:ext cx="7843095" cy="102988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704672054"/>
              </p:ext>
            </p:extLst>
          </p:nvPr>
        </p:nvGraphicFramePr>
        <p:xfrm>
          <a:off x="547224" y="1134892"/>
          <a:ext cx="216000" cy="3112854"/>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1037618">
                <a:tc>
                  <a:txBody>
                    <a:bodyPr/>
                    <a:lstStyle/>
                    <a:p>
                      <a:pPr algn="ctr"/>
                      <a:r>
                        <a:rPr lang="en-US" sz="800" dirty="0">
                          <a:latin typeface="Nexa Bold" panose="00000800000000000000" pitchFamily="2" charset="0"/>
                        </a:rPr>
                        <a:t>Carrefour</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2185244123"/>
                  </a:ext>
                </a:extLst>
              </a:tr>
              <a:tr h="1037618">
                <a:tc>
                  <a:txBody>
                    <a:bodyPr/>
                    <a:lstStyle/>
                    <a:p>
                      <a:pPr algn="ctr"/>
                      <a:r>
                        <a:rPr lang="en-US" sz="800" dirty="0" err="1">
                          <a:latin typeface="Nexa Bold" panose="00000800000000000000" pitchFamily="2" charset="0"/>
                        </a:rPr>
                        <a:t>Esselunga</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2799006142"/>
                  </a:ext>
                </a:extLst>
              </a:tr>
              <a:tr h="1037618">
                <a:tc>
                  <a:txBody>
                    <a:bodyPr/>
                    <a:lstStyle/>
                    <a:p>
                      <a:pPr algn="ctr"/>
                      <a:r>
                        <a:rPr lang="en-US" sz="800" dirty="0">
                          <a:latin typeface="Nexa Bold" panose="00000800000000000000" pitchFamily="2" charset="0"/>
                        </a:rPr>
                        <a:t>Gruppo Pam</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4207148720"/>
              </p:ext>
            </p:extLst>
          </p:nvPr>
        </p:nvGraphicFramePr>
        <p:xfrm>
          <a:off x="797668" y="3324729"/>
          <a:ext cx="7843095" cy="140695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Content Placeholder 19">
            <a:extLst>
              <a:ext uri="{FF2B5EF4-FFF2-40B4-BE49-F238E27FC236}">
                <a16:creationId xmlns:a16="http://schemas.microsoft.com/office/drawing/2014/main" id="{1A894116-D6FB-8532-B455-55505F9F26FF}"/>
              </a:ext>
            </a:extLst>
          </p:cNvPr>
          <p:cNvGraphicFramePr>
            <a:graphicFrameLocks/>
          </p:cNvGraphicFramePr>
          <p:nvPr>
            <p:extLst>
              <p:ext uri="{D42A27DB-BD31-4B8C-83A1-F6EECF244321}">
                <p14:modId xmlns:p14="http://schemas.microsoft.com/office/powerpoint/2010/main" val="3740931316"/>
              </p:ext>
            </p:extLst>
          </p:nvPr>
        </p:nvGraphicFramePr>
        <p:xfrm>
          <a:off x="797668" y="2290154"/>
          <a:ext cx="7843095" cy="92960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819508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1/27/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GB"/>
              <a:t>Evolution (%) Promo efficiency across brands | Category | National | P12M</a:t>
            </a:r>
            <a:endParaRPr lang="en-US"/>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89665759"/>
              </p:ext>
            </p:extLst>
          </p:nvPr>
        </p:nvGraphicFramePr>
        <p:xfrm>
          <a:off x="544366" y="1140560"/>
          <a:ext cx="8095916" cy="3591917"/>
        </p:xfrm>
        <a:graphic>
          <a:graphicData uri="http://schemas.openxmlformats.org/drawingml/2006/table">
            <a:tbl>
              <a:tblPr firstRow="1" bandRow="1">
                <a:tableStyleId>{5C22544A-7EE6-4342-B048-85BDC9FD1C3A}</a:tableStyleId>
              </a:tblPr>
              <a:tblGrid>
                <a:gridCol w="1463582">
                  <a:extLst>
                    <a:ext uri="{9D8B030D-6E8A-4147-A177-3AD203B41FA5}">
                      <a16:colId xmlns:a16="http://schemas.microsoft.com/office/drawing/2014/main" val="654108321"/>
                    </a:ext>
                  </a:extLst>
                </a:gridCol>
                <a:gridCol w="2210778">
                  <a:extLst>
                    <a:ext uri="{9D8B030D-6E8A-4147-A177-3AD203B41FA5}">
                      <a16:colId xmlns:a16="http://schemas.microsoft.com/office/drawing/2014/main" val="1241509968"/>
                    </a:ext>
                  </a:extLst>
                </a:gridCol>
                <a:gridCol w="2210778">
                  <a:extLst>
                    <a:ext uri="{9D8B030D-6E8A-4147-A177-3AD203B41FA5}">
                      <a16:colId xmlns:a16="http://schemas.microsoft.com/office/drawing/2014/main" val="857200868"/>
                    </a:ext>
                  </a:extLst>
                </a:gridCol>
                <a:gridCol w="2210778">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294524">
                <a:tc>
                  <a:txBody>
                    <a:bodyPr/>
                    <a:lstStyle/>
                    <a:p>
                      <a:pPr algn="ctr" fontAlgn="b"/>
                      <a:r>
                        <a:rPr lang="en-US" sz="800" b="0" dirty="0">
                          <a:solidFill>
                            <a:schemeClr val="tx1"/>
                          </a:solidFill>
                          <a:latin typeface="Nexa Bold" panose="00000800000000000000" pitchFamily="2" charset="0"/>
                        </a:rPr>
                        <a:t>Hershey’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4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08533622"/>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Ritter Spor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62503056"/>
                  </a:ext>
                </a:extLst>
              </a:tr>
              <a:tr h="294524">
                <a:tc>
                  <a:txBody>
                    <a:bodyPr/>
                    <a:lstStyle/>
                    <a:p>
                      <a:pPr algn="ctr" fontAlgn="b"/>
                      <a:r>
                        <a:rPr lang="en-US" sz="800" b="0" dirty="0">
                          <a:solidFill>
                            <a:schemeClr val="tx1"/>
                          </a:solidFill>
                          <a:latin typeface="Nexa Bold" panose="00000800000000000000" pitchFamily="2" charset="0"/>
                        </a:rPr>
                        <a:t>Lind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0366408"/>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Oth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1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8602638"/>
                  </a:ext>
                </a:extLst>
              </a:tr>
              <a:tr h="294524">
                <a:tc>
                  <a:txBody>
                    <a:bodyPr/>
                    <a:lstStyle/>
                    <a:p>
                      <a:pPr algn="ctr" fontAlgn="b"/>
                      <a:r>
                        <a:rPr lang="en-US" sz="800" b="0" dirty="0">
                          <a:solidFill>
                            <a:schemeClr val="tx1"/>
                          </a:solidFill>
                          <a:latin typeface="Nexa Bold" panose="00000800000000000000" pitchFamily="2" charset="0"/>
                        </a:rPr>
                        <a:t>Mar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575555"/>
                          </a:solidFill>
                          <a:latin typeface="Nexa Book" panose="00000400000000000000" pitchFamily="50" charset="0"/>
                        </a:rPr>
                        <a:t>1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98176398"/>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3378789512"/>
              </p:ext>
            </p:extLst>
          </p:nvPr>
        </p:nvGraphicFramePr>
        <p:xfrm>
          <a:off x="4243116" y="1500559"/>
          <a:ext cx="2168786"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959641509"/>
              </p:ext>
            </p:extLst>
          </p:nvPr>
        </p:nvGraphicFramePr>
        <p:xfrm>
          <a:off x="6459198" y="1498814"/>
          <a:ext cx="2167758"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69347840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1/27/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dirty="0"/>
              <a:t>Data Source | Trade Panel</a:t>
            </a:r>
            <a:endParaRPr lang="en-GB" dirty="0"/>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a:t>Promo sales per retailer | Findus | Fish Fingers</a:t>
            </a:r>
            <a:endParaRPr lang="en-CH"/>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ontent Placeholder 19">
            <a:extLst>
              <a:ext uri="{FF2B5EF4-FFF2-40B4-BE49-F238E27FC236}">
                <a16:creationId xmlns:a16="http://schemas.microsoft.com/office/drawing/2014/main" id="{9F2B971D-B103-BD41-69B0-5B94255F8973}"/>
              </a:ext>
            </a:extLst>
          </p:cNvPr>
          <p:cNvGraphicFramePr>
            <a:graphicFrameLocks/>
          </p:cNvGraphicFramePr>
          <p:nvPr>
            <p:extLst>
              <p:ext uri="{D42A27DB-BD31-4B8C-83A1-F6EECF244321}">
                <p14:modId xmlns:p14="http://schemas.microsoft.com/office/powerpoint/2010/main" val="2282214150"/>
              </p:ext>
            </p:extLst>
          </p:nvPr>
        </p:nvGraphicFramePr>
        <p:xfrm>
          <a:off x="796636" y="1140363"/>
          <a:ext cx="7844127" cy="77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3347662652"/>
              </p:ext>
            </p:extLst>
          </p:nvPr>
        </p:nvGraphicFramePr>
        <p:xfrm>
          <a:off x="543464" y="1138144"/>
          <a:ext cx="216000" cy="3097884"/>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774471">
                <a:tc>
                  <a:txBody>
                    <a:bodyPr/>
                    <a:lstStyle/>
                    <a:p>
                      <a:pPr algn="ctr"/>
                      <a:r>
                        <a:rPr lang="en-US" sz="800" dirty="0">
                          <a:latin typeface="Nexa Bold" panose="00000800000000000000" pitchFamily="2" charset="0"/>
                        </a:rPr>
                        <a:t>Carrefour</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2185244123"/>
                  </a:ext>
                </a:extLst>
              </a:tr>
              <a:tr h="774471">
                <a:tc>
                  <a:txBody>
                    <a:bodyPr/>
                    <a:lstStyle/>
                    <a:p>
                      <a:pPr algn="ctr"/>
                      <a:r>
                        <a:rPr lang="en-US" sz="800">
                          <a:latin typeface="Nexa Bold" panose="00000800000000000000" pitchFamily="2" charset="0"/>
                        </a:rPr>
                        <a:t>Coop Alleanza</a:t>
                      </a:r>
                      <a:endParaRPr lang="en-CH" sz="80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3908580997"/>
                  </a:ext>
                </a:extLst>
              </a:tr>
              <a:tr h="774471">
                <a:tc>
                  <a:txBody>
                    <a:bodyPr/>
                    <a:lstStyle/>
                    <a:p>
                      <a:pPr algn="ctr"/>
                      <a:r>
                        <a:rPr lang="en-US" sz="800">
                          <a:latin typeface="Nexa Bold" panose="00000800000000000000" pitchFamily="2" charset="0"/>
                        </a:rPr>
                        <a:t>Esselunga</a:t>
                      </a:r>
                      <a:endParaRPr lang="en-CH" sz="80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2799006142"/>
                  </a:ext>
                </a:extLst>
              </a:tr>
              <a:tr h="774471">
                <a:tc>
                  <a:txBody>
                    <a:bodyPr/>
                    <a:lstStyle/>
                    <a:p>
                      <a:pPr algn="ctr"/>
                      <a:r>
                        <a:rPr lang="en-US" sz="800" dirty="0">
                          <a:latin typeface="Nexa Bold" panose="00000800000000000000" pitchFamily="2" charset="0"/>
                        </a:rPr>
                        <a:t>Gruppo Pam</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1876007124"/>
              </p:ext>
            </p:extLst>
          </p:nvPr>
        </p:nvGraphicFramePr>
        <p:xfrm>
          <a:off x="796636" y="3558344"/>
          <a:ext cx="7844127" cy="11709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 name="Content Placeholder 19">
            <a:extLst>
              <a:ext uri="{FF2B5EF4-FFF2-40B4-BE49-F238E27FC236}">
                <a16:creationId xmlns:a16="http://schemas.microsoft.com/office/drawing/2014/main" id="{01286210-79B9-9F20-54F8-4ADE926BDBE9}"/>
              </a:ext>
            </a:extLst>
          </p:cNvPr>
          <p:cNvGraphicFramePr>
            <a:graphicFrameLocks/>
          </p:cNvGraphicFramePr>
          <p:nvPr>
            <p:extLst>
              <p:ext uri="{D42A27DB-BD31-4B8C-83A1-F6EECF244321}">
                <p14:modId xmlns:p14="http://schemas.microsoft.com/office/powerpoint/2010/main" val="1702617300"/>
              </p:ext>
            </p:extLst>
          </p:nvPr>
        </p:nvGraphicFramePr>
        <p:xfrm>
          <a:off x="796636" y="2054157"/>
          <a:ext cx="7844127" cy="7765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6" name="Content Placeholder 19">
            <a:extLst>
              <a:ext uri="{FF2B5EF4-FFF2-40B4-BE49-F238E27FC236}">
                <a16:creationId xmlns:a16="http://schemas.microsoft.com/office/drawing/2014/main" id="{1A894116-D6FB-8532-B455-55505F9F26FF}"/>
              </a:ext>
            </a:extLst>
          </p:cNvPr>
          <p:cNvGraphicFramePr>
            <a:graphicFrameLocks/>
          </p:cNvGraphicFramePr>
          <p:nvPr>
            <p:extLst>
              <p:ext uri="{D42A27DB-BD31-4B8C-83A1-F6EECF244321}">
                <p14:modId xmlns:p14="http://schemas.microsoft.com/office/powerpoint/2010/main" val="2046786488"/>
              </p:ext>
            </p:extLst>
          </p:nvPr>
        </p:nvGraphicFramePr>
        <p:xfrm>
          <a:off x="796636" y="2816307"/>
          <a:ext cx="7844127" cy="7765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03734572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1/27/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rPr lang="en-US" dirty="0"/>
              <a:t>Data Source | </a:t>
            </a:r>
            <a:r>
              <a:rPr lang="en-US"/>
              <a:t>Trade Panel</a:t>
            </a:r>
            <a:endParaRPr lang="en-GB"/>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r>
              <a:rPr lang="en-US"/>
              <a:t>Value Uplift vs discount depth | By Event | Category/Sector | Brand | Coop </a:t>
            </a:r>
            <a:r>
              <a:rPr lang="en-US" err="1"/>
              <a:t>Alleanza</a:t>
            </a:r>
            <a:r>
              <a:rPr lang="en-US"/>
              <a:t> | P12M</a:t>
            </a:r>
            <a:endParaRPr lang="en-CH"/>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2725244907"/>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174742544"/>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60760734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95CF73-FB89-0B93-0441-FDF373A036EC}"/>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AB13B13-F7D6-AB1A-272B-46EBC1B9E54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41E7C470-70FD-74A4-7110-38731C308BE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D8EE896-E39A-D9A3-82FC-83118032EF6C}"/>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1/27/2025</a:t>
            </a:fld>
            <a:endParaRPr lang="en-US" noProof="0"/>
          </a:p>
        </p:txBody>
      </p:sp>
      <p:sp>
        <p:nvSpPr>
          <p:cNvPr id="4" name="Footer" hidden="1">
            <a:extLst>
              <a:ext uri="{FF2B5EF4-FFF2-40B4-BE49-F238E27FC236}">
                <a16:creationId xmlns:a16="http://schemas.microsoft.com/office/drawing/2014/main" id="{AB28F48E-D5E4-D538-CB9A-E9C13BFCEAE0}"/>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9BA2CC67-B5B8-0EB8-BBDE-2724EE1E3FF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15" name="Data Source">
            <a:extLst>
              <a:ext uri="{FF2B5EF4-FFF2-40B4-BE49-F238E27FC236}">
                <a16:creationId xmlns:a16="http://schemas.microsoft.com/office/drawing/2014/main" id="{38CC35B7-7F02-B941-A370-376CD60D8FD0}"/>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12" name="Heading">
            <a:extLst>
              <a:ext uri="{FF2B5EF4-FFF2-40B4-BE49-F238E27FC236}">
                <a16:creationId xmlns:a16="http://schemas.microsoft.com/office/drawing/2014/main" id="{5C8672B9-8DFE-21DE-D66C-D147E4B826BF}"/>
              </a:ext>
            </a:extLst>
          </p:cNvPr>
          <p:cNvSpPr>
            <a:spLocks noGrp="1"/>
          </p:cNvSpPr>
          <p:nvPr>
            <p:ph type="body" sz="quarter" idx="18"/>
          </p:nvPr>
        </p:nvSpPr>
        <p:spPr>
          <a:xfrm>
            <a:off x="503238" y="774000"/>
            <a:ext cx="8136762" cy="360000"/>
          </a:xfrm>
        </p:spPr>
        <p:txBody>
          <a:bodyPr/>
          <a:lstStyle/>
          <a:p>
            <a:r>
              <a:rPr lang="en-US"/>
              <a:t>Seasonality Index | By Sector | National | P3Y</a:t>
            </a:r>
          </a:p>
        </p:txBody>
      </p:sp>
      <p:sp>
        <p:nvSpPr>
          <p:cNvPr id="10" name="Title">
            <a:extLst>
              <a:ext uri="{FF2B5EF4-FFF2-40B4-BE49-F238E27FC236}">
                <a16:creationId xmlns:a16="http://schemas.microsoft.com/office/drawing/2014/main" id="{A8A34122-56EC-F352-D73B-2D45A1E7F2E1}"/>
              </a:ext>
            </a:extLst>
          </p:cNvPr>
          <p:cNvSpPr>
            <a:spLocks noGrp="1"/>
          </p:cNvSpPr>
          <p:nvPr>
            <p:ph type="title"/>
          </p:nvPr>
        </p:nvSpPr>
        <p:spPr>
          <a:xfrm>
            <a:off x="504000" y="-1"/>
            <a:ext cx="8136000" cy="771525"/>
          </a:xfrm>
        </p:spPr>
        <p:txBody>
          <a:bodyPr vert="horz"/>
          <a:lstStyle/>
          <a:p>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14B7B400-46BB-5B96-87CC-231336D4FB5E}"/>
              </a:ext>
            </a:extLst>
          </p:cNvPr>
          <p:cNvGraphicFramePr>
            <a:graphicFrameLocks noGrp="1"/>
          </p:cNvGraphicFramePr>
          <p:nvPr>
            <p:extLst>
              <p:ext uri="{D42A27DB-BD31-4B8C-83A1-F6EECF244321}">
                <p14:modId xmlns:p14="http://schemas.microsoft.com/office/powerpoint/2010/main" val="96233226"/>
              </p:ext>
            </p:extLst>
          </p:nvPr>
        </p:nvGraphicFramePr>
        <p:xfrm>
          <a:off x="543331" y="1131888"/>
          <a:ext cx="303523" cy="1724763"/>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1724763">
                <a:tc>
                  <a:txBody>
                    <a:bodyPr/>
                    <a:lstStyle/>
                    <a:p>
                      <a:pPr algn="ctr" fontAlgn="b"/>
                      <a:r>
                        <a:rPr lang="en-US" sz="800" b="0" kern="1200" dirty="0">
                          <a:solidFill>
                            <a:srgbClr val="575555"/>
                          </a:solidFill>
                          <a:latin typeface="Nexa Bold"/>
                          <a:ea typeface="+mn-ea"/>
                          <a:cs typeface="+mn-cs"/>
                        </a:rPr>
                        <a:t>RGB</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7" name="C2">
            <a:extLst>
              <a:ext uri="{FF2B5EF4-FFF2-40B4-BE49-F238E27FC236}">
                <a16:creationId xmlns:a16="http://schemas.microsoft.com/office/drawing/2014/main" id="{0613F4CC-2F1F-C5A5-BDE8-AA9221D44A00}"/>
              </a:ext>
            </a:extLst>
          </p:cNvPr>
          <p:cNvGraphicFramePr>
            <a:graphicFrameLocks/>
          </p:cNvGraphicFramePr>
          <p:nvPr>
            <p:extLst>
              <p:ext uri="{D42A27DB-BD31-4B8C-83A1-F6EECF244321}">
                <p14:modId xmlns:p14="http://schemas.microsoft.com/office/powerpoint/2010/main" val="3918470"/>
              </p:ext>
            </p:extLst>
          </p:nvPr>
        </p:nvGraphicFramePr>
        <p:xfrm>
          <a:off x="940093" y="1104344"/>
          <a:ext cx="7740000" cy="19259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53576494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9E8954-1515-D7C7-CADE-697E5B1B6CFD}"/>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1E7C470-70FD-74A4-7110-38731C308BE5}"/>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A31CD73C-E590-EB05-5ED8-56326A9D19A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A31311B7-7F72-87F6-55E7-1BC91CD3C2E7}"/>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1/27/2025</a:t>
            </a:fld>
            <a:endParaRPr lang="en-US" noProof="0"/>
          </a:p>
        </p:txBody>
      </p:sp>
      <p:sp>
        <p:nvSpPr>
          <p:cNvPr id="4" name="Footer" hidden="1">
            <a:extLst>
              <a:ext uri="{FF2B5EF4-FFF2-40B4-BE49-F238E27FC236}">
                <a16:creationId xmlns:a16="http://schemas.microsoft.com/office/drawing/2014/main" id="{5457E92C-FE8F-068A-AB01-8E89F7BC9259}"/>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D3DAB0AB-0BA9-EB58-0EDC-64D2F6D79EC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15" name="Data Source">
            <a:extLst>
              <a:ext uri="{FF2B5EF4-FFF2-40B4-BE49-F238E27FC236}">
                <a16:creationId xmlns:a16="http://schemas.microsoft.com/office/drawing/2014/main" id="{ADE960CF-89BD-5FBC-2BEA-F1C9A35B7B89}"/>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12" name="Heading">
            <a:extLst>
              <a:ext uri="{FF2B5EF4-FFF2-40B4-BE49-F238E27FC236}">
                <a16:creationId xmlns:a16="http://schemas.microsoft.com/office/drawing/2014/main" id="{F9773734-2E19-E380-3F9E-EAD09C6E5058}"/>
              </a:ext>
            </a:extLst>
          </p:cNvPr>
          <p:cNvSpPr>
            <a:spLocks noGrp="1"/>
          </p:cNvSpPr>
          <p:nvPr>
            <p:ph type="body" sz="quarter" idx="18"/>
          </p:nvPr>
        </p:nvSpPr>
        <p:spPr>
          <a:xfrm>
            <a:off x="503238" y="774000"/>
            <a:ext cx="8136762" cy="360000"/>
          </a:xfrm>
        </p:spPr>
        <p:txBody>
          <a:bodyPr/>
          <a:lstStyle/>
          <a:p>
            <a:r>
              <a:rPr lang="en-US"/>
              <a:t>Seasonality Index | By Sector | National | P3Y</a:t>
            </a:r>
          </a:p>
        </p:txBody>
      </p:sp>
      <p:sp>
        <p:nvSpPr>
          <p:cNvPr id="10" name="Title">
            <a:extLst>
              <a:ext uri="{FF2B5EF4-FFF2-40B4-BE49-F238E27FC236}">
                <a16:creationId xmlns:a16="http://schemas.microsoft.com/office/drawing/2014/main" id="{F980C054-4AD2-36DA-DF8D-72F9EAC5DF19}"/>
              </a:ext>
            </a:extLst>
          </p:cNvPr>
          <p:cNvSpPr>
            <a:spLocks noGrp="1"/>
          </p:cNvSpPr>
          <p:nvPr>
            <p:ph type="title"/>
          </p:nvPr>
        </p:nvSpPr>
        <p:spPr>
          <a:xfrm>
            <a:off x="504000" y="-1"/>
            <a:ext cx="8136000" cy="771525"/>
          </a:xfrm>
        </p:spPr>
        <p:txBody>
          <a:bodyPr vert="horz"/>
          <a:lstStyle/>
          <a:p>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FD3FCF59-4D3D-63C9-1DFC-522E85B6F473}"/>
              </a:ext>
            </a:extLst>
          </p:cNvPr>
          <p:cNvGraphicFramePr>
            <a:graphicFrameLocks noGrp="1"/>
          </p:cNvGraphicFramePr>
          <p:nvPr>
            <p:extLst>
              <p:ext uri="{D42A27DB-BD31-4B8C-83A1-F6EECF244321}">
                <p14:modId xmlns:p14="http://schemas.microsoft.com/office/powerpoint/2010/main" val="1035235721"/>
              </p:ext>
            </p:extLst>
          </p:nvPr>
        </p:nvGraphicFramePr>
        <p:xfrm>
          <a:off x="543331" y="1131888"/>
          <a:ext cx="303523" cy="3449526"/>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1724763">
                <a:tc>
                  <a:txBody>
                    <a:bodyPr/>
                    <a:lstStyle/>
                    <a:p>
                      <a:pPr algn="ctr" fontAlgn="b"/>
                      <a:r>
                        <a:rPr lang="en-US" sz="800" b="0" kern="1200" dirty="0">
                          <a:solidFill>
                            <a:srgbClr val="575555"/>
                          </a:solidFill>
                          <a:latin typeface="Nexa Bold"/>
                          <a:ea typeface="+mn-ea"/>
                          <a:cs typeface="+mn-cs"/>
                        </a:rPr>
                        <a:t>Small PET</a:t>
                      </a:r>
                    </a:p>
                  </a:txBody>
                  <a:tcPr marL="4763" marR="4763" marT="4763" marB="0" vert="vert270" anchor="ctr">
                    <a:solidFill>
                      <a:schemeClr val="bg1">
                        <a:lumMod val="95000"/>
                      </a:schemeClr>
                    </a:solidFill>
                  </a:tcPr>
                </a:tc>
                <a:extLst>
                  <a:ext uri="{0D108BD9-81ED-4DB2-BD59-A6C34878D82A}">
                    <a16:rowId xmlns:a16="http://schemas.microsoft.com/office/drawing/2014/main" val="2824268041"/>
                  </a:ext>
                </a:extLst>
              </a:tr>
              <a:tr h="1724763">
                <a:tc>
                  <a:txBody>
                    <a:bodyPr/>
                    <a:lstStyle/>
                    <a:p>
                      <a:pPr algn="ctr" fontAlgn="b"/>
                      <a:r>
                        <a:rPr lang="en-US" sz="800" b="0" kern="1200" dirty="0">
                          <a:solidFill>
                            <a:srgbClr val="575555"/>
                          </a:solidFill>
                          <a:latin typeface="Nexa Bold"/>
                          <a:ea typeface="+mn-ea"/>
                          <a:cs typeface="+mn-cs"/>
                        </a:rPr>
                        <a:t>RGB</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26" name="C2">
            <a:extLst>
              <a:ext uri="{FF2B5EF4-FFF2-40B4-BE49-F238E27FC236}">
                <a16:creationId xmlns:a16="http://schemas.microsoft.com/office/drawing/2014/main" id="{C9AD43ED-F4F6-AE24-ED0E-A55367C3D320}"/>
              </a:ext>
            </a:extLst>
          </p:cNvPr>
          <p:cNvGraphicFramePr>
            <a:graphicFrameLocks/>
          </p:cNvGraphicFramePr>
          <p:nvPr>
            <p:extLst>
              <p:ext uri="{D42A27DB-BD31-4B8C-83A1-F6EECF244321}">
                <p14:modId xmlns:p14="http://schemas.microsoft.com/office/powerpoint/2010/main" val="3145327643"/>
              </p:ext>
            </p:extLst>
          </p:nvPr>
        </p:nvGraphicFramePr>
        <p:xfrm>
          <a:off x="899999" y="1131887"/>
          <a:ext cx="7740000" cy="172061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 name="C2">
            <a:extLst>
              <a:ext uri="{FF2B5EF4-FFF2-40B4-BE49-F238E27FC236}">
                <a16:creationId xmlns:a16="http://schemas.microsoft.com/office/drawing/2014/main" id="{5EA9E6B5-135B-7DC7-61F1-7E527BE5562D}"/>
              </a:ext>
            </a:extLst>
          </p:cNvPr>
          <p:cNvGraphicFramePr>
            <a:graphicFrameLocks/>
          </p:cNvGraphicFramePr>
          <p:nvPr>
            <p:extLst>
              <p:ext uri="{D42A27DB-BD31-4B8C-83A1-F6EECF244321}">
                <p14:modId xmlns:p14="http://schemas.microsoft.com/office/powerpoint/2010/main" val="355700526"/>
              </p:ext>
            </p:extLst>
          </p:nvPr>
        </p:nvGraphicFramePr>
        <p:xfrm>
          <a:off x="907981" y="2853850"/>
          <a:ext cx="7740000" cy="1925969"/>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84793455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D0AF88-84F4-2869-DECA-6EE31CA33F0D}"/>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4C8AD0F-9180-3EAB-01FE-653B32642F4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A31CD73C-E590-EB05-5ED8-56326A9D19A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632914CD-B2C7-F3EB-98CC-C16BD3795F41}"/>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1/27/2025</a:t>
            </a:fld>
            <a:endParaRPr lang="en-US" noProof="0"/>
          </a:p>
        </p:txBody>
      </p:sp>
      <p:sp>
        <p:nvSpPr>
          <p:cNvPr id="4" name="Footer" hidden="1">
            <a:extLst>
              <a:ext uri="{FF2B5EF4-FFF2-40B4-BE49-F238E27FC236}">
                <a16:creationId xmlns:a16="http://schemas.microsoft.com/office/drawing/2014/main" id="{E2E8F52B-FAE2-3582-90CF-32EC79D3A279}"/>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0C4E2ED9-2DD2-0F1D-6A5E-8DFBE65B9B5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15" name="Data Source">
            <a:extLst>
              <a:ext uri="{FF2B5EF4-FFF2-40B4-BE49-F238E27FC236}">
                <a16:creationId xmlns:a16="http://schemas.microsoft.com/office/drawing/2014/main" id="{2892DBE4-D9CE-54D1-8585-D34CF596078B}"/>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12" name="Heading">
            <a:extLst>
              <a:ext uri="{FF2B5EF4-FFF2-40B4-BE49-F238E27FC236}">
                <a16:creationId xmlns:a16="http://schemas.microsoft.com/office/drawing/2014/main" id="{1DE27DA8-5DB0-BC4B-9F42-DEC01F942BDA}"/>
              </a:ext>
            </a:extLst>
          </p:cNvPr>
          <p:cNvSpPr>
            <a:spLocks noGrp="1"/>
          </p:cNvSpPr>
          <p:nvPr>
            <p:ph type="body" sz="quarter" idx="18"/>
          </p:nvPr>
        </p:nvSpPr>
        <p:spPr>
          <a:xfrm>
            <a:off x="503238" y="774000"/>
            <a:ext cx="8136762" cy="360000"/>
          </a:xfrm>
        </p:spPr>
        <p:txBody>
          <a:bodyPr/>
          <a:lstStyle/>
          <a:p>
            <a:r>
              <a:rPr lang="en-US"/>
              <a:t>Seasonality Index | By Sector | National | P3Y</a:t>
            </a:r>
          </a:p>
        </p:txBody>
      </p:sp>
      <p:sp>
        <p:nvSpPr>
          <p:cNvPr id="10" name="Title">
            <a:extLst>
              <a:ext uri="{FF2B5EF4-FFF2-40B4-BE49-F238E27FC236}">
                <a16:creationId xmlns:a16="http://schemas.microsoft.com/office/drawing/2014/main" id="{60F5EE99-9B67-4A7C-5AC0-9C69771267AC}"/>
              </a:ext>
            </a:extLst>
          </p:cNvPr>
          <p:cNvSpPr>
            <a:spLocks noGrp="1"/>
          </p:cNvSpPr>
          <p:nvPr>
            <p:ph type="title"/>
          </p:nvPr>
        </p:nvSpPr>
        <p:spPr>
          <a:xfrm>
            <a:off x="504000" y="-1"/>
            <a:ext cx="8136000" cy="771525"/>
          </a:xfrm>
        </p:spPr>
        <p:txBody>
          <a:bodyPr vert="horz"/>
          <a:lstStyle/>
          <a:p>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44E7D6A7-2517-1924-D21E-A75D83E57D55}"/>
              </a:ext>
            </a:extLst>
          </p:cNvPr>
          <p:cNvGraphicFramePr>
            <a:graphicFrameLocks noGrp="1"/>
          </p:cNvGraphicFramePr>
          <p:nvPr>
            <p:extLst>
              <p:ext uri="{D42A27DB-BD31-4B8C-83A1-F6EECF244321}">
                <p14:modId xmlns:p14="http://schemas.microsoft.com/office/powerpoint/2010/main" val="44401082"/>
              </p:ext>
            </p:extLst>
          </p:nvPr>
        </p:nvGraphicFramePr>
        <p:xfrm>
          <a:off x="543331" y="1131888"/>
          <a:ext cx="303523" cy="3237612"/>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1079204">
                <a:tc>
                  <a:txBody>
                    <a:bodyPr/>
                    <a:lstStyle/>
                    <a:p>
                      <a:pPr algn="ctr" fontAlgn="b"/>
                      <a:r>
                        <a:rPr lang="en-US" sz="800" b="0" kern="1200" dirty="0">
                          <a:solidFill>
                            <a:srgbClr val="575555"/>
                          </a:solidFill>
                          <a:latin typeface="Nexa Bold"/>
                          <a:ea typeface="+mn-ea"/>
                          <a:cs typeface="+mn-cs"/>
                        </a:rPr>
                        <a:t>Big PET</a:t>
                      </a:r>
                    </a:p>
                  </a:txBody>
                  <a:tcPr marL="4763" marR="4763" marT="4763" marB="0" vert="vert270" anchor="ctr">
                    <a:solidFill>
                      <a:schemeClr val="bg1">
                        <a:lumMod val="95000"/>
                      </a:schemeClr>
                    </a:solidFill>
                  </a:tcPr>
                </a:tc>
                <a:extLst>
                  <a:ext uri="{0D108BD9-81ED-4DB2-BD59-A6C34878D82A}">
                    <a16:rowId xmlns:a16="http://schemas.microsoft.com/office/drawing/2014/main" val="1691032331"/>
                  </a:ext>
                </a:extLst>
              </a:tr>
              <a:tr h="1079204">
                <a:tc>
                  <a:txBody>
                    <a:bodyPr/>
                    <a:lstStyle/>
                    <a:p>
                      <a:pPr algn="ctr" fontAlgn="b"/>
                      <a:r>
                        <a:rPr lang="en-US" sz="800" b="0" kern="1200">
                          <a:solidFill>
                            <a:srgbClr val="575555"/>
                          </a:solidFill>
                          <a:latin typeface="Nexa Bold"/>
                          <a:ea typeface="+mn-ea"/>
                          <a:cs typeface="+mn-cs"/>
                        </a:rPr>
                        <a:t>Small PET</a:t>
                      </a:r>
                    </a:p>
                  </a:txBody>
                  <a:tcPr marL="4763" marR="4763" marT="4763" marB="0" vert="vert270" anchor="ctr">
                    <a:solidFill>
                      <a:schemeClr val="bg1">
                        <a:lumMod val="95000"/>
                      </a:schemeClr>
                    </a:solidFill>
                  </a:tcPr>
                </a:tc>
                <a:extLst>
                  <a:ext uri="{0D108BD9-81ED-4DB2-BD59-A6C34878D82A}">
                    <a16:rowId xmlns:a16="http://schemas.microsoft.com/office/drawing/2014/main" val="2824268041"/>
                  </a:ext>
                </a:extLst>
              </a:tr>
              <a:tr h="1079204">
                <a:tc>
                  <a:txBody>
                    <a:bodyPr/>
                    <a:lstStyle/>
                    <a:p>
                      <a:pPr algn="ctr" fontAlgn="b"/>
                      <a:r>
                        <a:rPr lang="en-US" sz="800" b="0" kern="1200" dirty="0">
                          <a:solidFill>
                            <a:srgbClr val="575555"/>
                          </a:solidFill>
                          <a:latin typeface="Nexa Bold"/>
                          <a:ea typeface="+mn-ea"/>
                          <a:cs typeface="+mn-cs"/>
                        </a:rPr>
                        <a:t>RGB</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18" name="C2">
            <a:extLst>
              <a:ext uri="{FF2B5EF4-FFF2-40B4-BE49-F238E27FC236}">
                <a16:creationId xmlns:a16="http://schemas.microsoft.com/office/drawing/2014/main" id="{71E6DCF7-1A98-55BE-A118-CCB61BFA1677}"/>
              </a:ext>
            </a:extLst>
          </p:cNvPr>
          <p:cNvGraphicFramePr>
            <a:graphicFrameLocks/>
          </p:cNvGraphicFramePr>
          <p:nvPr>
            <p:extLst>
              <p:ext uri="{D42A27DB-BD31-4B8C-83A1-F6EECF244321}">
                <p14:modId xmlns:p14="http://schemas.microsoft.com/office/powerpoint/2010/main" val="3203492051"/>
              </p:ext>
            </p:extLst>
          </p:nvPr>
        </p:nvGraphicFramePr>
        <p:xfrm>
          <a:off x="907981" y="1190100"/>
          <a:ext cx="7740000" cy="98019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6" name="C2">
            <a:extLst>
              <a:ext uri="{FF2B5EF4-FFF2-40B4-BE49-F238E27FC236}">
                <a16:creationId xmlns:a16="http://schemas.microsoft.com/office/drawing/2014/main" id="{911CF36C-1A7B-4AFC-C29D-445ACA239949}"/>
              </a:ext>
            </a:extLst>
          </p:cNvPr>
          <p:cNvGraphicFramePr>
            <a:graphicFrameLocks/>
          </p:cNvGraphicFramePr>
          <p:nvPr>
            <p:extLst>
              <p:ext uri="{D42A27DB-BD31-4B8C-83A1-F6EECF244321}">
                <p14:modId xmlns:p14="http://schemas.microsoft.com/office/powerpoint/2010/main" val="4171023131"/>
              </p:ext>
            </p:extLst>
          </p:nvPr>
        </p:nvGraphicFramePr>
        <p:xfrm>
          <a:off x="907981" y="2226391"/>
          <a:ext cx="7740000" cy="8839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C2">
            <a:extLst>
              <a:ext uri="{FF2B5EF4-FFF2-40B4-BE49-F238E27FC236}">
                <a16:creationId xmlns:a16="http://schemas.microsoft.com/office/drawing/2014/main" id="{8045044B-F89E-09A8-5E36-8D8608CD8A9F}"/>
              </a:ext>
            </a:extLst>
          </p:cNvPr>
          <p:cNvGraphicFramePr>
            <a:graphicFrameLocks/>
          </p:cNvGraphicFramePr>
          <p:nvPr>
            <p:extLst>
              <p:ext uri="{D42A27DB-BD31-4B8C-83A1-F6EECF244321}">
                <p14:modId xmlns:p14="http://schemas.microsoft.com/office/powerpoint/2010/main" val="1582608468"/>
              </p:ext>
            </p:extLst>
          </p:nvPr>
        </p:nvGraphicFramePr>
        <p:xfrm>
          <a:off x="907981" y="3277698"/>
          <a:ext cx="7740000" cy="145505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69144662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D5202D-A6C3-32ED-9277-F1702C91ADE4}"/>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A9A04BAD-47BC-2298-1C16-B4C36E5DCAA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A31CD73C-E590-EB05-5ED8-56326A9D19A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A7EF4ADA-B7D7-369C-A15C-4B55E08410F1}"/>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1/27/2025</a:t>
            </a:fld>
            <a:endParaRPr lang="en-US" noProof="0"/>
          </a:p>
        </p:txBody>
      </p:sp>
      <p:sp>
        <p:nvSpPr>
          <p:cNvPr id="4" name="Footer" hidden="1">
            <a:extLst>
              <a:ext uri="{FF2B5EF4-FFF2-40B4-BE49-F238E27FC236}">
                <a16:creationId xmlns:a16="http://schemas.microsoft.com/office/drawing/2014/main" id="{678C2E9D-5AF4-53D6-B317-3A070178575E}"/>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08E811E2-3B37-F4EB-21D5-6CED2A47B20C}"/>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15" name="Data Source">
            <a:extLst>
              <a:ext uri="{FF2B5EF4-FFF2-40B4-BE49-F238E27FC236}">
                <a16:creationId xmlns:a16="http://schemas.microsoft.com/office/drawing/2014/main" id="{89910504-1DAA-5B13-AAC8-EE6F2AE94A85}"/>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12" name="Heading">
            <a:extLst>
              <a:ext uri="{FF2B5EF4-FFF2-40B4-BE49-F238E27FC236}">
                <a16:creationId xmlns:a16="http://schemas.microsoft.com/office/drawing/2014/main" id="{8DE4D359-B6FF-DFAA-C099-A1C1B7AAA676}"/>
              </a:ext>
            </a:extLst>
          </p:cNvPr>
          <p:cNvSpPr>
            <a:spLocks noGrp="1"/>
          </p:cNvSpPr>
          <p:nvPr>
            <p:ph type="body" sz="quarter" idx="18"/>
          </p:nvPr>
        </p:nvSpPr>
        <p:spPr>
          <a:xfrm>
            <a:off x="503238" y="774000"/>
            <a:ext cx="8136762" cy="360000"/>
          </a:xfrm>
        </p:spPr>
        <p:txBody>
          <a:bodyPr/>
          <a:lstStyle/>
          <a:p>
            <a:r>
              <a:rPr lang="en-US"/>
              <a:t>Seasonality Index | By Sector | National | P3Y</a:t>
            </a:r>
          </a:p>
        </p:txBody>
      </p:sp>
      <p:sp>
        <p:nvSpPr>
          <p:cNvPr id="10" name="Title">
            <a:extLst>
              <a:ext uri="{FF2B5EF4-FFF2-40B4-BE49-F238E27FC236}">
                <a16:creationId xmlns:a16="http://schemas.microsoft.com/office/drawing/2014/main" id="{F6C45166-D38E-1C96-444C-127C8300032B}"/>
              </a:ext>
            </a:extLst>
          </p:cNvPr>
          <p:cNvSpPr>
            <a:spLocks noGrp="1"/>
          </p:cNvSpPr>
          <p:nvPr>
            <p:ph type="title"/>
          </p:nvPr>
        </p:nvSpPr>
        <p:spPr>
          <a:xfrm>
            <a:off x="504000" y="-1"/>
            <a:ext cx="8136000" cy="771525"/>
          </a:xfrm>
        </p:spPr>
        <p:txBody>
          <a:bodyPr vert="horz"/>
          <a:lstStyle/>
          <a:p>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81483C84-291D-696C-5801-C6D78552189A}"/>
              </a:ext>
            </a:extLst>
          </p:cNvPr>
          <p:cNvGraphicFramePr>
            <a:graphicFrameLocks noGrp="1"/>
          </p:cNvGraphicFramePr>
          <p:nvPr>
            <p:extLst>
              <p:ext uri="{D42A27DB-BD31-4B8C-83A1-F6EECF244321}">
                <p14:modId xmlns:p14="http://schemas.microsoft.com/office/powerpoint/2010/main" val="306748637"/>
              </p:ext>
            </p:extLst>
          </p:nvPr>
        </p:nvGraphicFramePr>
        <p:xfrm>
          <a:off x="543331" y="1131888"/>
          <a:ext cx="303523" cy="3449528"/>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862382">
                <a:tc>
                  <a:txBody>
                    <a:bodyPr/>
                    <a:lstStyle/>
                    <a:p>
                      <a:pPr algn="ctr" fontAlgn="b"/>
                      <a:r>
                        <a:rPr lang="en-US" sz="800" b="0" kern="1200" dirty="0">
                          <a:solidFill>
                            <a:srgbClr val="575555"/>
                          </a:solidFill>
                          <a:latin typeface="Nexa Bold"/>
                          <a:ea typeface="+mn-ea"/>
                          <a:cs typeface="+mn-cs"/>
                        </a:rPr>
                        <a:t> Can</a:t>
                      </a:r>
                    </a:p>
                  </a:txBody>
                  <a:tcPr marL="4763" marR="4763" marT="4763" marB="0" vert="vert270" anchor="ctr">
                    <a:solidFill>
                      <a:schemeClr val="bg1">
                        <a:lumMod val="95000"/>
                      </a:schemeClr>
                    </a:solidFill>
                  </a:tcPr>
                </a:tc>
                <a:extLst>
                  <a:ext uri="{0D108BD9-81ED-4DB2-BD59-A6C34878D82A}">
                    <a16:rowId xmlns:a16="http://schemas.microsoft.com/office/drawing/2014/main" val="1323519937"/>
                  </a:ext>
                </a:extLst>
              </a:tr>
              <a:tr h="862382">
                <a:tc>
                  <a:txBody>
                    <a:bodyPr/>
                    <a:lstStyle/>
                    <a:p>
                      <a:pPr algn="ctr" fontAlgn="b"/>
                      <a:r>
                        <a:rPr lang="en-US" sz="800" b="0" kern="1200">
                          <a:solidFill>
                            <a:srgbClr val="575555"/>
                          </a:solidFill>
                          <a:latin typeface="Nexa Bold"/>
                          <a:ea typeface="+mn-ea"/>
                          <a:cs typeface="+mn-cs"/>
                        </a:rPr>
                        <a:t>Big PET</a:t>
                      </a:r>
                    </a:p>
                  </a:txBody>
                  <a:tcPr marL="4763" marR="4763" marT="4763" marB="0" vert="vert270" anchor="ctr">
                    <a:solidFill>
                      <a:schemeClr val="bg1">
                        <a:lumMod val="95000"/>
                      </a:schemeClr>
                    </a:solidFill>
                  </a:tcPr>
                </a:tc>
                <a:extLst>
                  <a:ext uri="{0D108BD9-81ED-4DB2-BD59-A6C34878D82A}">
                    <a16:rowId xmlns:a16="http://schemas.microsoft.com/office/drawing/2014/main" val="1691032331"/>
                  </a:ext>
                </a:extLst>
              </a:tr>
              <a:tr h="862382">
                <a:tc>
                  <a:txBody>
                    <a:bodyPr/>
                    <a:lstStyle/>
                    <a:p>
                      <a:pPr algn="ctr" fontAlgn="b"/>
                      <a:r>
                        <a:rPr lang="en-US" sz="800" b="0" kern="1200">
                          <a:solidFill>
                            <a:srgbClr val="575555"/>
                          </a:solidFill>
                          <a:latin typeface="Nexa Bold"/>
                          <a:ea typeface="+mn-ea"/>
                          <a:cs typeface="+mn-cs"/>
                        </a:rPr>
                        <a:t>Small PET</a:t>
                      </a:r>
                    </a:p>
                  </a:txBody>
                  <a:tcPr marL="4763" marR="4763" marT="4763" marB="0" vert="vert270" anchor="ctr">
                    <a:solidFill>
                      <a:schemeClr val="bg1">
                        <a:lumMod val="95000"/>
                      </a:schemeClr>
                    </a:solidFill>
                  </a:tcPr>
                </a:tc>
                <a:extLst>
                  <a:ext uri="{0D108BD9-81ED-4DB2-BD59-A6C34878D82A}">
                    <a16:rowId xmlns:a16="http://schemas.microsoft.com/office/drawing/2014/main" val="2824268041"/>
                  </a:ext>
                </a:extLst>
              </a:tr>
              <a:tr h="862382">
                <a:tc>
                  <a:txBody>
                    <a:bodyPr/>
                    <a:lstStyle/>
                    <a:p>
                      <a:pPr algn="ctr" fontAlgn="b"/>
                      <a:r>
                        <a:rPr lang="en-US" sz="800" b="0" kern="1200" dirty="0">
                          <a:solidFill>
                            <a:srgbClr val="575555"/>
                          </a:solidFill>
                          <a:latin typeface="Nexa Bold"/>
                          <a:ea typeface="+mn-ea"/>
                          <a:cs typeface="+mn-cs"/>
                        </a:rPr>
                        <a:t>RGB</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7" name="C2">
            <a:extLst>
              <a:ext uri="{FF2B5EF4-FFF2-40B4-BE49-F238E27FC236}">
                <a16:creationId xmlns:a16="http://schemas.microsoft.com/office/drawing/2014/main" id="{C57BF963-75C8-3509-DF34-736E47CD2177}"/>
              </a:ext>
            </a:extLst>
          </p:cNvPr>
          <p:cNvGraphicFramePr>
            <a:graphicFrameLocks/>
          </p:cNvGraphicFramePr>
          <p:nvPr>
            <p:extLst>
              <p:ext uri="{D42A27DB-BD31-4B8C-83A1-F6EECF244321}">
                <p14:modId xmlns:p14="http://schemas.microsoft.com/office/powerpoint/2010/main" val="1633204920"/>
              </p:ext>
            </p:extLst>
          </p:nvPr>
        </p:nvGraphicFramePr>
        <p:xfrm>
          <a:off x="905321" y="1131888"/>
          <a:ext cx="7740000" cy="82973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6" name="C2">
            <a:extLst>
              <a:ext uri="{FF2B5EF4-FFF2-40B4-BE49-F238E27FC236}">
                <a16:creationId xmlns:a16="http://schemas.microsoft.com/office/drawing/2014/main" id="{EF638191-9AD3-F53C-53D9-07617BF27424}"/>
              </a:ext>
            </a:extLst>
          </p:cNvPr>
          <p:cNvGraphicFramePr>
            <a:graphicFrameLocks/>
          </p:cNvGraphicFramePr>
          <p:nvPr>
            <p:extLst>
              <p:ext uri="{D42A27DB-BD31-4B8C-83A1-F6EECF244321}">
                <p14:modId xmlns:p14="http://schemas.microsoft.com/office/powerpoint/2010/main" val="974424976"/>
              </p:ext>
            </p:extLst>
          </p:nvPr>
        </p:nvGraphicFramePr>
        <p:xfrm>
          <a:off x="899999" y="1966133"/>
          <a:ext cx="7740000" cy="88150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7" name="C2">
            <a:extLst>
              <a:ext uri="{FF2B5EF4-FFF2-40B4-BE49-F238E27FC236}">
                <a16:creationId xmlns:a16="http://schemas.microsoft.com/office/drawing/2014/main" id="{12FB3567-7AEE-DDCE-0F01-65DD58CA4903}"/>
              </a:ext>
            </a:extLst>
          </p:cNvPr>
          <p:cNvGraphicFramePr>
            <a:graphicFrameLocks/>
          </p:cNvGraphicFramePr>
          <p:nvPr>
            <p:extLst>
              <p:ext uri="{D42A27DB-BD31-4B8C-83A1-F6EECF244321}">
                <p14:modId xmlns:p14="http://schemas.microsoft.com/office/powerpoint/2010/main" val="3691157756"/>
              </p:ext>
            </p:extLst>
          </p:nvPr>
        </p:nvGraphicFramePr>
        <p:xfrm>
          <a:off x="907981" y="2852145"/>
          <a:ext cx="7740000" cy="83845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8" name="C2">
            <a:extLst>
              <a:ext uri="{FF2B5EF4-FFF2-40B4-BE49-F238E27FC236}">
                <a16:creationId xmlns:a16="http://schemas.microsoft.com/office/drawing/2014/main" id="{64B9AD7D-6434-9BA5-BAEF-8937575651AC}"/>
              </a:ext>
            </a:extLst>
          </p:cNvPr>
          <p:cNvGraphicFramePr>
            <a:graphicFrameLocks/>
          </p:cNvGraphicFramePr>
          <p:nvPr>
            <p:extLst>
              <p:ext uri="{D42A27DB-BD31-4B8C-83A1-F6EECF244321}">
                <p14:modId xmlns:p14="http://schemas.microsoft.com/office/powerpoint/2010/main" val="1504638670"/>
              </p:ext>
            </p:extLst>
          </p:nvPr>
        </p:nvGraphicFramePr>
        <p:xfrm>
          <a:off x="902660" y="3695102"/>
          <a:ext cx="7740000" cy="1037654"/>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44466305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30655E-8CB4-1D8A-2F67-11036FB1C531}"/>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A31CD73C-E590-EB05-5ED8-56326A9D19A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A31CD73C-E590-EB05-5ED8-56326A9D19A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5CF5C216-E226-2145-E009-09D6B5104631}"/>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1/27/2025</a:t>
            </a:fld>
            <a:endParaRPr lang="en-US" noProof="0"/>
          </a:p>
        </p:txBody>
      </p:sp>
      <p:sp>
        <p:nvSpPr>
          <p:cNvPr id="4" name="Footer" hidden="1">
            <a:extLst>
              <a:ext uri="{FF2B5EF4-FFF2-40B4-BE49-F238E27FC236}">
                <a16:creationId xmlns:a16="http://schemas.microsoft.com/office/drawing/2014/main" id="{1A9E1F83-6D9E-3659-4EE6-D57E161E532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8D7ED125-994F-1785-565C-E7812D951FD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15" name="Data Source">
            <a:extLst>
              <a:ext uri="{FF2B5EF4-FFF2-40B4-BE49-F238E27FC236}">
                <a16:creationId xmlns:a16="http://schemas.microsoft.com/office/drawing/2014/main" id="{F02DADCC-9D3D-E6AF-CDD0-F77F2E475948}"/>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12" name="Heading">
            <a:extLst>
              <a:ext uri="{FF2B5EF4-FFF2-40B4-BE49-F238E27FC236}">
                <a16:creationId xmlns:a16="http://schemas.microsoft.com/office/drawing/2014/main" id="{0E6457AB-1F75-EDF5-28B3-59703DC43C13}"/>
              </a:ext>
            </a:extLst>
          </p:cNvPr>
          <p:cNvSpPr>
            <a:spLocks noGrp="1"/>
          </p:cNvSpPr>
          <p:nvPr>
            <p:ph type="body" sz="quarter" idx="18"/>
          </p:nvPr>
        </p:nvSpPr>
        <p:spPr>
          <a:xfrm>
            <a:off x="503238" y="774000"/>
            <a:ext cx="8136762" cy="360000"/>
          </a:xfrm>
        </p:spPr>
        <p:txBody>
          <a:bodyPr/>
          <a:lstStyle/>
          <a:p>
            <a:r>
              <a:rPr lang="en-US"/>
              <a:t>Seasonality Index | By Sector | National | P3Y</a:t>
            </a:r>
          </a:p>
        </p:txBody>
      </p:sp>
      <p:sp>
        <p:nvSpPr>
          <p:cNvPr id="10" name="Title">
            <a:extLst>
              <a:ext uri="{FF2B5EF4-FFF2-40B4-BE49-F238E27FC236}">
                <a16:creationId xmlns:a16="http://schemas.microsoft.com/office/drawing/2014/main" id="{3B2A807A-B447-E219-9089-DFE5CD3E5824}"/>
              </a:ext>
            </a:extLst>
          </p:cNvPr>
          <p:cNvSpPr>
            <a:spLocks noGrp="1"/>
          </p:cNvSpPr>
          <p:nvPr>
            <p:ph type="title"/>
          </p:nvPr>
        </p:nvSpPr>
        <p:spPr>
          <a:xfrm>
            <a:off x="504000" y="-1"/>
            <a:ext cx="8136000" cy="771525"/>
          </a:xfrm>
        </p:spPr>
        <p:txBody>
          <a:bodyPr vert="horz"/>
          <a:lstStyle/>
          <a:p>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D2771134-BE5D-B1B3-276E-D11D4EFD762C}"/>
              </a:ext>
            </a:extLst>
          </p:cNvPr>
          <p:cNvGraphicFramePr>
            <a:graphicFrameLocks noGrp="1"/>
          </p:cNvGraphicFramePr>
          <p:nvPr>
            <p:extLst>
              <p:ext uri="{D42A27DB-BD31-4B8C-83A1-F6EECF244321}">
                <p14:modId xmlns:p14="http://schemas.microsoft.com/office/powerpoint/2010/main" val="1862000568"/>
              </p:ext>
            </p:extLst>
          </p:nvPr>
        </p:nvGraphicFramePr>
        <p:xfrm>
          <a:off x="543331" y="1131888"/>
          <a:ext cx="303523" cy="3449525"/>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689905">
                <a:tc>
                  <a:txBody>
                    <a:bodyPr/>
                    <a:lstStyle/>
                    <a:p>
                      <a:pPr algn="ctr" fontAlgn="b"/>
                      <a:r>
                        <a:rPr lang="en-US" sz="800" b="0" kern="1200" dirty="0">
                          <a:solidFill>
                            <a:srgbClr val="575555"/>
                          </a:solidFill>
                          <a:latin typeface="Nexa Bold"/>
                          <a:ea typeface="+mn-ea"/>
                          <a:cs typeface="+mn-cs"/>
                        </a:rPr>
                        <a:t>NRGB</a:t>
                      </a:r>
                    </a:p>
                  </a:txBody>
                  <a:tcPr marL="4763" marR="4763" marT="4763" marB="0" vert="vert270" anchor="ctr">
                    <a:solidFill>
                      <a:schemeClr val="bg1">
                        <a:lumMod val="95000"/>
                      </a:schemeClr>
                    </a:solidFill>
                  </a:tcPr>
                </a:tc>
                <a:extLst>
                  <a:ext uri="{0D108BD9-81ED-4DB2-BD59-A6C34878D82A}">
                    <a16:rowId xmlns:a16="http://schemas.microsoft.com/office/drawing/2014/main" val="3908580997"/>
                  </a:ext>
                </a:extLst>
              </a:tr>
              <a:tr h="689905">
                <a:tc>
                  <a:txBody>
                    <a:bodyPr/>
                    <a:lstStyle/>
                    <a:p>
                      <a:pPr algn="ctr" fontAlgn="b"/>
                      <a:r>
                        <a:rPr lang="en-US" sz="800" b="0" kern="1200" dirty="0">
                          <a:solidFill>
                            <a:srgbClr val="575555"/>
                          </a:solidFill>
                          <a:latin typeface="Nexa Bold"/>
                          <a:ea typeface="+mn-ea"/>
                          <a:cs typeface="+mn-cs"/>
                        </a:rPr>
                        <a:t> Can</a:t>
                      </a:r>
                    </a:p>
                  </a:txBody>
                  <a:tcPr marL="4763" marR="4763" marT="4763" marB="0" vert="vert270" anchor="ctr">
                    <a:solidFill>
                      <a:schemeClr val="bg1">
                        <a:lumMod val="95000"/>
                      </a:schemeClr>
                    </a:solidFill>
                  </a:tcPr>
                </a:tc>
                <a:extLst>
                  <a:ext uri="{0D108BD9-81ED-4DB2-BD59-A6C34878D82A}">
                    <a16:rowId xmlns:a16="http://schemas.microsoft.com/office/drawing/2014/main" val="1323519937"/>
                  </a:ext>
                </a:extLst>
              </a:tr>
              <a:tr h="689905">
                <a:tc>
                  <a:txBody>
                    <a:bodyPr/>
                    <a:lstStyle/>
                    <a:p>
                      <a:pPr algn="ctr" fontAlgn="b"/>
                      <a:r>
                        <a:rPr lang="en-US" sz="800" b="0" kern="1200">
                          <a:solidFill>
                            <a:srgbClr val="575555"/>
                          </a:solidFill>
                          <a:latin typeface="Nexa Bold"/>
                          <a:ea typeface="+mn-ea"/>
                          <a:cs typeface="+mn-cs"/>
                        </a:rPr>
                        <a:t>Big PET</a:t>
                      </a:r>
                    </a:p>
                  </a:txBody>
                  <a:tcPr marL="4763" marR="4763" marT="4763" marB="0" vert="vert270" anchor="ctr">
                    <a:solidFill>
                      <a:schemeClr val="bg1">
                        <a:lumMod val="95000"/>
                      </a:schemeClr>
                    </a:solidFill>
                  </a:tcPr>
                </a:tc>
                <a:extLst>
                  <a:ext uri="{0D108BD9-81ED-4DB2-BD59-A6C34878D82A}">
                    <a16:rowId xmlns:a16="http://schemas.microsoft.com/office/drawing/2014/main" val="1691032331"/>
                  </a:ext>
                </a:extLst>
              </a:tr>
              <a:tr h="689905">
                <a:tc>
                  <a:txBody>
                    <a:bodyPr/>
                    <a:lstStyle/>
                    <a:p>
                      <a:pPr algn="ctr" fontAlgn="b"/>
                      <a:r>
                        <a:rPr lang="en-US" sz="800" b="0" kern="1200">
                          <a:solidFill>
                            <a:srgbClr val="575555"/>
                          </a:solidFill>
                          <a:latin typeface="Nexa Bold"/>
                          <a:ea typeface="+mn-ea"/>
                          <a:cs typeface="+mn-cs"/>
                        </a:rPr>
                        <a:t>Small PET</a:t>
                      </a:r>
                    </a:p>
                  </a:txBody>
                  <a:tcPr marL="4763" marR="4763" marT="4763" marB="0" vert="vert270" anchor="ctr">
                    <a:solidFill>
                      <a:schemeClr val="bg1">
                        <a:lumMod val="95000"/>
                      </a:schemeClr>
                    </a:solidFill>
                  </a:tcPr>
                </a:tc>
                <a:extLst>
                  <a:ext uri="{0D108BD9-81ED-4DB2-BD59-A6C34878D82A}">
                    <a16:rowId xmlns:a16="http://schemas.microsoft.com/office/drawing/2014/main" val="2824268041"/>
                  </a:ext>
                </a:extLst>
              </a:tr>
              <a:tr h="689905">
                <a:tc>
                  <a:txBody>
                    <a:bodyPr/>
                    <a:lstStyle/>
                    <a:p>
                      <a:pPr algn="ctr" fontAlgn="b"/>
                      <a:r>
                        <a:rPr lang="en-US" sz="800" b="0" kern="1200" dirty="0">
                          <a:solidFill>
                            <a:srgbClr val="575555"/>
                          </a:solidFill>
                          <a:latin typeface="Nexa Bold"/>
                          <a:ea typeface="+mn-ea"/>
                          <a:cs typeface="+mn-cs"/>
                        </a:rPr>
                        <a:t>RGB</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17" name="C2">
            <a:extLst>
              <a:ext uri="{FF2B5EF4-FFF2-40B4-BE49-F238E27FC236}">
                <a16:creationId xmlns:a16="http://schemas.microsoft.com/office/drawing/2014/main" id="{B9DFD641-2D89-817B-F509-F81D8C8D4FDC}"/>
              </a:ext>
            </a:extLst>
          </p:cNvPr>
          <p:cNvGraphicFramePr>
            <a:graphicFrameLocks/>
          </p:cNvGraphicFramePr>
          <p:nvPr>
            <p:extLst>
              <p:ext uri="{D42A27DB-BD31-4B8C-83A1-F6EECF244321}">
                <p14:modId xmlns:p14="http://schemas.microsoft.com/office/powerpoint/2010/main" val="2741958359"/>
              </p:ext>
            </p:extLst>
          </p:nvPr>
        </p:nvGraphicFramePr>
        <p:xfrm>
          <a:off x="907980" y="1158059"/>
          <a:ext cx="7740000" cy="58579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8" name="C2">
            <a:extLst>
              <a:ext uri="{FF2B5EF4-FFF2-40B4-BE49-F238E27FC236}">
                <a16:creationId xmlns:a16="http://schemas.microsoft.com/office/drawing/2014/main" id="{F28A4806-C4BC-CDEF-FEF0-6680E060DD1E}"/>
              </a:ext>
            </a:extLst>
          </p:cNvPr>
          <p:cNvGraphicFramePr>
            <a:graphicFrameLocks/>
          </p:cNvGraphicFramePr>
          <p:nvPr>
            <p:extLst>
              <p:ext uri="{D42A27DB-BD31-4B8C-83A1-F6EECF244321}">
                <p14:modId xmlns:p14="http://schemas.microsoft.com/office/powerpoint/2010/main" val="3213097543"/>
              </p:ext>
            </p:extLst>
          </p:nvPr>
        </p:nvGraphicFramePr>
        <p:xfrm>
          <a:off x="907980" y="2584624"/>
          <a:ext cx="7740000" cy="55663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5" name="C2">
            <a:extLst>
              <a:ext uri="{FF2B5EF4-FFF2-40B4-BE49-F238E27FC236}">
                <a16:creationId xmlns:a16="http://schemas.microsoft.com/office/drawing/2014/main" id="{62D25DF2-0ECE-3D25-96A0-9A016CFBBAE8}"/>
              </a:ext>
            </a:extLst>
          </p:cNvPr>
          <p:cNvGraphicFramePr>
            <a:graphicFrameLocks/>
          </p:cNvGraphicFramePr>
          <p:nvPr>
            <p:extLst>
              <p:ext uri="{D42A27DB-BD31-4B8C-83A1-F6EECF244321}">
                <p14:modId xmlns:p14="http://schemas.microsoft.com/office/powerpoint/2010/main" val="4195248072"/>
              </p:ext>
            </p:extLst>
          </p:nvPr>
        </p:nvGraphicFramePr>
        <p:xfrm>
          <a:off x="886947" y="1886858"/>
          <a:ext cx="7740000" cy="55663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6" name="C2">
            <a:extLst>
              <a:ext uri="{FF2B5EF4-FFF2-40B4-BE49-F238E27FC236}">
                <a16:creationId xmlns:a16="http://schemas.microsoft.com/office/drawing/2014/main" id="{6A8C2FF1-FD36-C88F-E856-58E4D7A8DBB2}"/>
              </a:ext>
            </a:extLst>
          </p:cNvPr>
          <p:cNvGraphicFramePr>
            <a:graphicFrameLocks/>
          </p:cNvGraphicFramePr>
          <p:nvPr>
            <p:extLst>
              <p:ext uri="{D42A27DB-BD31-4B8C-83A1-F6EECF244321}">
                <p14:modId xmlns:p14="http://schemas.microsoft.com/office/powerpoint/2010/main" val="2982863668"/>
              </p:ext>
            </p:extLst>
          </p:nvPr>
        </p:nvGraphicFramePr>
        <p:xfrm>
          <a:off x="907980" y="3290250"/>
          <a:ext cx="7740000" cy="597096"/>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C2">
            <a:extLst>
              <a:ext uri="{FF2B5EF4-FFF2-40B4-BE49-F238E27FC236}">
                <a16:creationId xmlns:a16="http://schemas.microsoft.com/office/drawing/2014/main" id="{511B7199-E6F3-F60A-0FF1-398C39B9385A}"/>
              </a:ext>
            </a:extLst>
          </p:cNvPr>
          <p:cNvGraphicFramePr>
            <a:graphicFrameLocks/>
          </p:cNvGraphicFramePr>
          <p:nvPr>
            <p:extLst>
              <p:ext uri="{D42A27DB-BD31-4B8C-83A1-F6EECF244321}">
                <p14:modId xmlns:p14="http://schemas.microsoft.com/office/powerpoint/2010/main" val="2319801538"/>
              </p:ext>
            </p:extLst>
          </p:nvPr>
        </p:nvGraphicFramePr>
        <p:xfrm>
          <a:off x="907980" y="3935405"/>
          <a:ext cx="7740000" cy="750642"/>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64491816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AB83FA-25E7-DE07-8B53-04BAFD151C58}"/>
            </a:ext>
          </a:extLst>
        </p:cNvPr>
        <p:cNvGrpSpPr/>
        <p:nvPr/>
      </p:nvGrpSpPr>
      <p:grpSpPr>
        <a:xfrm>
          <a:off x="0" y="0"/>
          <a:ext cx="0" cy="0"/>
          <a:chOff x="0" y="0"/>
          <a:chExt cx="0" cy="0"/>
        </a:xfrm>
      </p:grpSpPr>
      <p:graphicFrame>
        <p:nvGraphicFramePr>
          <p:cNvPr id="9" name="C2">
            <a:extLst>
              <a:ext uri="{FF2B5EF4-FFF2-40B4-BE49-F238E27FC236}">
                <a16:creationId xmlns:a16="http://schemas.microsoft.com/office/drawing/2014/main" id="{BE678AEC-A4B5-C9F9-80CE-D7E32C488EBE}"/>
              </a:ext>
            </a:extLst>
          </p:cNvPr>
          <p:cNvGraphicFramePr>
            <a:graphicFrameLocks/>
          </p:cNvGraphicFramePr>
          <p:nvPr/>
        </p:nvGraphicFramePr>
        <p:xfrm>
          <a:off x="907979" y="1138960"/>
          <a:ext cx="7740000" cy="58579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3" name="think-cell data - do not delete" hidden="1">
            <a:extLst>
              <a:ext uri="{FF2B5EF4-FFF2-40B4-BE49-F238E27FC236}">
                <a16:creationId xmlns:a16="http://schemas.microsoft.com/office/drawing/2014/main" id="{9EEAC255-6727-4085-14F1-21E806920E3E}"/>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A31CD73C-E590-EB05-5ED8-56326A9D19A4}"/>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883A24B6-D0A1-39B1-D984-08A87E034EF5}"/>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1/27/2025</a:t>
            </a:fld>
            <a:endParaRPr lang="en-US" noProof="0"/>
          </a:p>
        </p:txBody>
      </p:sp>
      <p:sp>
        <p:nvSpPr>
          <p:cNvPr id="4" name="Footer" hidden="1">
            <a:extLst>
              <a:ext uri="{FF2B5EF4-FFF2-40B4-BE49-F238E27FC236}">
                <a16:creationId xmlns:a16="http://schemas.microsoft.com/office/drawing/2014/main" id="{EC2C6277-90AE-34F1-0B49-8ACE302DD9FD}"/>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0EC90219-A7DE-540F-C396-DE4AEAA21E4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15" name="Data Source">
            <a:extLst>
              <a:ext uri="{FF2B5EF4-FFF2-40B4-BE49-F238E27FC236}">
                <a16:creationId xmlns:a16="http://schemas.microsoft.com/office/drawing/2014/main" id="{B96ABA59-59CE-92E3-B26E-33B3646BE579}"/>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12" name="Heading">
            <a:extLst>
              <a:ext uri="{FF2B5EF4-FFF2-40B4-BE49-F238E27FC236}">
                <a16:creationId xmlns:a16="http://schemas.microsoft.com/office/drawing/2014/main" id="{00F15F92-1E72-AF73-7DFB-9675DBA7F295}"/>
              </a:ext>
            </a:extLst>
          </p:cNvPr>
          <p:cNvSpPr>
            <a:spLocks noGrp="1"/>
          </p:cNvSpPr>
          <p:nvPr>
            <p:ph type="body" sz="quarter" idx="18"/>
          </p:nvPr>
        </p:nvSpPr>
        <p:spPr>
          <a:xfrm>
            <a:off x="503238" y="774000"/>
            <a:ext cx="8136762" cy="360000"/>
          </a:xfrm>
        </p:spPr>
        <p:txBody>
          <a:bodyPr/>
          <a:lstStyle/>
          <a:p>
            <a:r>
              <a:rPr lang="en-US" dirty="0"/>
              <a:t>Seasonality Index | By Sector | National | P3Y</a:t>
            </a:r>
          </a:p>
        </p:txBody>
      </p:sp>
      <p:sp>
        <p:nvSpPr>
          <p:cNvPr id="10" name="Title">
            <a:extLst>
              <a:ext uri="{FF2B5EF4-FFF2-40B4-BE49-F238E27FC236}">
                <a16:creationId xmlns:a16="http://schemas.microsoft.com/office/drawing/2014/main" id="{282858EF-8996-5EED-CB80-83A6E21B8CB3}"/>
              </a:ext>
            </a:extLst>
          </p:cNvPr>
          <p:cNvSpPr>
            <a:spLocks noGrp="1"/>
          </p:cNvSpPr>
          <p:nvPr>
            <p:ph type="title"/>
          </p:nvPr>
        </p:nvSpPr>
        <p:spPr>
          <a:xfrm>
            <a:off x="504000" y="-1"/>
            <a:ext cx="8136000" cy="771525"/>
          </a:xfrm>
        </p:spPr>
        <p:txBody>
          <a:bodyPr vert="horz"/>
          <a:lstStyle/>
          <a:p>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DAE7F43B-898E-480F-59F3-2AF75BCF1981}"/>
              </a:ext>
            </a:extLst>
          </p:cNvPr>
          <p:cNvGraphicFramePr>
            <a:graphicFrameLocks noGrp="1"/>
          </p:cNvGraphicFramePr>
          <p:nvPr/>
        </p:nvGraphicFramePr>
        <p:xfrm>
          <a:off x="543331" y="1131888"/>
          <a:ext cx="303523" cy="3449526"/>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574921">
                <a:tc>
                  <a:txBody>
                    <a:bodyPr/>
                    <a:lstStyle/>
                    <a:p>
                      <a:pPr algn="ctr" fontAlgn="b"/>
                      <a:r>
                        <a:rPr lang="en-US" sz="800" b="0" kern="1200">
                          <a:solidFill>
                            <a:srgbClr val="575555"/>
                          </a:solidFill>
                          <a:latin typeface="Nexa Bold"/>
                          <a:ea typeface="+mn-ea"/>
                          <a:cs typeface="+mn-cs"/>
                        </a:rPr>
                        <a:t>Beer</a:t>
                      </a:r>
                    </a:p>
                  </a:txBody>
                  <a:tcPr marL="4763" marR="4763" marT="4763" marB="0" vert="vert270" anchor="ctr">
                    <a:solidFill>
                      <a:schemeClr val="bg1">
                        <a:lumMod val="95000"/>
                      </a:schemeClr>
                    </a:solidFill>
                  </a:tcPr>
                </a:tc>
                <a:extLst>
                  <a:ext uri="{0D108BD9-81ED-4DB2-BD59-A6C34878D82A}">
                    <a16:rowId xmlns:a16="http://schemas.microsoft.com/office/drawing/2014/main" val="2185244123"/>
                  </a:ext>
                </a:extLst>
              </a:tr>
              <a:tr h="574921">
                <a:tc>
                  <a:txBody>
                    <a:bodyPr/>
                    <a:lstStyle/>
                    <a:p>
                      <a:pPr algn="ctr" fontAlgn="b"/>
                      <a:r>
                        <a:rPr lang="en-US" sz="800" b="0" kern="1200">
                          <a:solidFill>
                            <a:srgbClr val="575555"/>
                          </a:solidFill>
                          <a:latin typeface="Nexa Bold"/>
                          <a:ea typeface="+mn-ea"/>
                          <a:cs typeface="+mn-cs"/>
                        </a:rPr>
                        <a:t>NRGB</a:t>
                      </a:r>
                    </a:p>
                  </a:txBody>
                  <a:tcPr marL="4763" marR="4763" marT="4763" marB="0" vert="vert270" anchor="ctr">
                    <a:solidFill>
                      <a:schemeClr val="bg1">
                        <a:lumMod val="95000"/>
                      </a:schemeClr>
                    </a:solidFill>
                  </a:tcPr>
                </a:tc>
                <a:extLst>
                  <a:ext uri="{0D108BD9-81ED-4DB2-BD59-A6C34878D82A}">
                    <a16:rowId xmlns:a16="http://schemas.microsoft.com/office/drawing/2014/main" val="3908580997"/>
                  </a:ext>
                </a:extLst>
              </a:tr>
              <a:tr h="574921">
                <a:tc>
                  <a:txBody>
                    <a:bodyPr/>
                    <a:lstStyle/>
                    <a:p>
                      <a:pPr algn="ctr" fontAlgn="b"/>
                      <a:r>
                        <a:rPr lang="en-US" sz="800" b="0" kern="1200">
                          <a:solidFill>
                            <a:srgbClr val="575555"/>
                          </a:solidFill>
                          <a:latin typeface="Nexa Bold"/>
                          <a:ea typeface="+mn-ea"/>
                          <a:cs typeface="+mn-cs"/>
                        </a:rPr>
                        <a:t> Can</a:t>
                      </a:r>
                    </a:p>
                  </a:txBody>
                  <a:tcPr marL="4763" marR="4763" marT="4763" marB="0" vert="vert270" anchor="ctr">
                    <a:solidFill>
                      <a:schemeClr val="bg1">
                        <a:lumMod val="95000"/>
                      </a:schemeClr>
                    </a:solidFill>
                  </a:tcPr>
                </a:tc>
                <a:extLst>
                  <a:ext uri="{0D108BD9-81ED-4DB2-BD59-A6C34878D82A}">
                    <a16:rowId xmlns:a16="http://schemas.microsoft.com/office/drawing/2014/main" val="1323519937"/>
                  </a:ext>
                </a:extLst>
              </a:tr>
              <a:tr h="574921">
                <a:tc>
                  <a:txBody>
                    <a:bodyPr/>
                    <a:lstStyle/>
                    <a:p>
                      <a:pPr algn="ctr" fontAlgn="b"/>
                      <a:r>
                        <a:rPr lang="en-US" sz="800" b="0" kern="1200">
                          <a:solidFill>
                            <a:srgbClr val="575555"/>
                          </a:solidFill>
                          <a:latin typeface="Nexa Bold"/>
                          <a:ea typeface="+mn-ea"/>
                          <a:cs typeface="+mn-cs"/>
                        </a:rPr>
                        <a:t>Big PET</a:t>
                      </a:r>
                    </a:p>
                  </a:txBody>
                  <a:tcPr marL="4763" marR="4763" marT="4763" marB="0" vert="vert270" anchor="ctr">
                    <a:solidFill>
                      <a:schemeClr val="bg1">
                        <a:lumMod val="95000"/>
                      </a:schemeClr>
                    </a:solidFill>
                  </a:tcPr>
                </a:tc>
                <a:extLst>
                  <a:ext uri="{0D108BD9-81ED-4DB2-BD59-A6C34878D82A}">
                    <a16:rowId xmlns:a16="http://schemas.microsoft.com/office/drawing/2014/main" val="1691032331"/>
                  </a:ext>
                </a:extLst>
              </a:tr>
              <a:tr h="574921">
                <a:tc>
                  <a:txBody>
                    <a:bodyPr/>
                    <a:lstStyle/>
                    <a:p>
                      <a:pPr algn="ctr" fontAlgn="b"/>
                      <a:r>
                        <a:rPr lang="en-US" sz="800" b="0" kern="1200">
                          <a:solidFill>
                            <a:srgbClr val="575555"/>
                          </a:solidFill>
                          <a:latin typeface="Nexa Bold"/>
                          <a:ea typeface="+mn-ea"/>
                          <a:cs typeface="+mn-cs"/>
                        </a:rPr>
                        <a:t>Small PET</a:t>
                      </a:r>
                    </a:p>
                  </a:txBody>
                  <a:tcPr marL="4763" marR="4763" marT="4763" marB="0" vert="vert270" anchor="ctr">
                    <a:solidFill>
                      <a:schemeClr val="bg1">
                        <a:lumMod val="95000"/>
                      </a:schemeClr>
                    </a:solidFill>
                  </a:tcPr>
                </a:tc>
                <a:extLst>
                  <a:ext uri="{0D108BD9-81ED-4DB2-BD59-A6C34878D82A}">
                    <a16:rowId xmlns:a16="http://schemas.microsoft.com/office/drawing/2014/main" val="2824268041"/>
                  </a:ext>
                </a:extLst>
              </a:tr>
              <a:tr h="574921">
                <a:tc>
                  <a:txBody>
                    <a:bodyPr/>
                    <a:lstStyle/>
                    <a:p>
                      <a:pPr algn="ctr" fontAlgn="b"/>
                      <a:r>
                        <a:rPr lang="en-US" sz="800" b="0" kern="1200">
                          <a:solidFill>
                            <a:srgbClr val="575555"/>
                          </a:solidFill>
                          <a:latin typeface="Nexa Bold"/>
                          <a:ea typeface="+mn-ea"/>
                          <a:cs typeface="+mn-cs"/>
                        </a:rPr>
                        <a:t>RGB</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17" name="C2">
            <a:extLst>
              <a:ext uri="{FF2B5EF4-FFF2-40B4-BE49-F238E27FC236}">
                <a16:creationId xmlns:a16="http://schemas.microsoft.com/office/drawing/2014/main" id="{723B5DF6-FE6E-DB7A-FA74-49D5B6F8EA33}"/>
              </a:ext>
            </a:extLst>
          </p:cNvPr>
          <p:cNvGraphicFramePr>
            <a:graphicFrameLocks/>
          </p:cNvGraphicFramePr>
          <p:nvPr/>
        </p:nvGraphicFramePr>
        <p:xfrm>
          <a:off x="907981" y="1725153"/>
          <a:ext cx="7740000" cy="58579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8" name="C2">
            <a:extLst>
              <a:ext uri="{FF2B5EF4-FFF2-40B4-BE49-F238E27FC236}">
                <a16:creationId xmlns:a16="http://schemas.microsoft.com/office/drawing/2014/main" id="{3D556AA6-9118-6215-BF32-A68619F3BA2A}"/>
              </a:ext>
            </a:extLst>
          </p:cNvPr>
          <p:cNvGraphicFramePr>
            <a:graphicFrameLocks/>
          </p:cNvGraphicFramePr>
          <p:nvPr/>
        </p:nvGraphicFramePr>
        <p:xfrm>
          <a:off x="907981" y="2874966"/>
          <a:ext cx="7740000" cy="55663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5" name="C2">
            <a:extLst>
              <a:ext uri="{FF2B5EF4-FFF2-40B4-BE49-F238E27FC236}">
                <a16:creationId xmlns:a16="http://schemas.microsoft.com/office/drawing/2014/main" id="{F7BFE405-F459-8E06-73F0-AA291BEF8F01}"/>
              </a:ext>
            </a:extLst>
          </p:cNvPr>
          <p:cNvGraphicFramePr>
            <a:graphicFrameLocks/>
          </p:cNvGraphicFramePr>
          <p:nvPr/>
        </p:nvGraphicFramePr>
        <p:xfrm>
          <a:off x="907980" y="2318334"/>
          <a:ext cx="7740000" cy="556633"/>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26" name="C2">
            <a:extLst>
              <a:ext uri="{FF2B5EF4-FFF2-40B4-BE49-F238E27FC236}">
                <a16:creationId xmlns:a16="http://schemas.microsoft.com/office/drawing/2014/main" id="{122DB804-8F64-63C6-36D5-C84BB8890B23}"/>
              </a:ext>
            </a:extLst>
          </p:cNvPr>
          <p:cNvGraphicFramePr>
            <a:graphicFrameLocks/>
          </p:cNvGraphicFramePr>
          <p:nvPr/>
        </p:nvGraphicFramePr>
        <p:xfrm>
          <a:off x="907981" y="3431840"/>
          <a:ext cx="7740000" cy="597096"/>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7" name="C2">
            <a:extLst>
              <a:ext uri="{FF2B5EF4-FFF2-40B4-BE49-F238E27FC236}">
                <a16:creationId xmlns:a16="http://schemas.microsoft.com/office/drawing/2014/main" id="{95C8C92F-978E-694A-EB7F-CD48B70EDA43}"/>
              </a:ext>
            </a:extLst>
          </p:cNvPr>
          <p:cNvGraphicFramePr>
            <a:graphicFrameLocks/>
          </p:cNvGraphicFramePr>
          <p:nvPr/>
        </p:nvGraphicFramePr>
        <p:xfrm>
          <a:off x="907981" y="4029177"/>
          <a:ext cx="7740000" cy="750642"/>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192198925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D9F713-CB4C-7BD6-DC55-DEC948F8D8DF}"/>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2CAC19F0-BB46-358A-B6C6-69127B12EE7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485F1A87-D3CC-A322-7838-907D2FF0C08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B2D61BD4-0BF8-D200-23F1-FABD5C28762A}"/>
              </a:ext>
            </a:extLst>
          </p:cNvPr>
          <p:cNvSpPr>
            <a:spLocks noGrp="1"/>
          </p:cNvSpPr>
          <p:nvPr>
            <p:ph type="dt" sz="half" idx="14"/>
          </p:nvPr>
        </p:nvSpPr>
        <p:spPr>
          <a:xfrm>
            <a:off x="8082390" y="4972050"/>
            <a:ext cx="557609" cy="171450"/>
          </a:xfrm>
        </p:spPr>
        <p:txBody>
          <a:bodyPr/>
          <a:lstStyle/>
          <a:p>
            <a:pPr lvl="0"/>
            <a:fld id="{C3572431-5FDA-4C15-BC5A-5EE3413ECCC7}" type="datetime1">
              <a:rPr lang="en-US" noProof="0" smtClean="0"/>
              <a:pPr lvl="0"/>
              <a:t>1/27/2025</a:t>
            </a:fld>
            <a:endParaRPr lang="en-US" noProof="0"/>
          </a:p>
        </p:txBody>
      </p:sp>
      <p:sp>
        <p:nvSpPr>
          <p:cNvPr id="2" name="Footer Placeholder 1">
            <a:extLst>
              <a:ext uri="{FF2B5EF4-FFF2-40B4-BE49-F238E27FC236}">
                <a16:creationId xmlns:a16="http://schemas.microsoft.com/office/drawing/2014/main" id="{CEA02AA9-AEDE-6252-139F-DAF1465C978F}"/>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297EBF08-74B8-16C6-0E52-DBD051CE042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4" name="Text Placeholder 3">
            <a:extLst>
              <a:ext uri="{FF2B5EF4-FFF2-40B4-BE49-F238E27FC236}">
                <a16:creationId xmlns:a16="http://schemas.microsoft.com/office/drawing/2014/main" id="{FEB2B946-9464-30C9-B43F-F137B55A3C7E}"/>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6" name="Text Placeholder 5">
            <a:extLst>
              <a:ext uri="{FF2B5EF4-FFF2-40B4-BE49-F238E27FC236}">
                <a16:creationId xmlns:a16="http://schemas.microsoft.com/office/drawing/2014/main" id="{12A61832-B208-AA5B-E40E-DC5C53D72915}"/>
              </a:ext>
            </a:extLst>
          </p:cNvPr>
          <p:cNvSpPr>
            <a:spLocks noGrp="1"/>
          </p:cNvSpPr>
          <p:nvPr>
            <p:ph type="body" sz="quarter" idx="18"/>
          </p:nvPr>
        </p:nvSpPr>
        <p:spPr>
          <a:xfrm>
            <a:off x="503238" y="774000"/>
            <a:ext cx="8136762" cy="360000"/>
          </a:xfrm>
        </p:spPr>
        <p:txBody>
          <a:bodyPr/>
          <a:lstStyle/>
          <a:p>
            <a:r>
              <a:rPr lang="en-GB"/>
              <a:t>Promotional Frequency Analysis | Economy | </a:t>
            </a:r>
            <a:r>
              <a:rPr lang="en-GB" err="1"/>
              <a:t>Bucegi</a:t>
            </a:r>
            <a:r>
              <a:rPr lang="en-GB"/>
              <a:t> | P12M</a:t>
            </a:r>
          </a:p>
        </p:txBody>
      </p:sp>
      <p:sp>
        <p:nvSpPr>
          <p:cNvPr id="20" name="Title 19">
            <a:extLst>
              <a:ext uri="{FF2B5EF4-FFF2-40B4-BE49-F238E27FC236}">
                <a16:creationId xmlns:a16="http://schemas.microsoft.com/office/drawing/2014/main" id="{55B37E12-511C-C8BB-B144-290B6993E0BC}"/>
              </a:ext>
            </a:extLst>
          </p:cNvPr>
          <p:cNvSpPr>
            <a:spLocks noGrp="1"/>
          </p:cNvSpPr>
          <p:nvPr>
            <p:ph type="title"/>
          </p:nvPr>
        </p:nvSpPr>
        <p:spPr>
          <a:xfrm>
            <a:off x="504000" y="-1"/>
            <a:ext cx="8136000" cy="771525"/>
          </a:xfrm>
          <a:noFill/>
        </p:spPr>
        <p:txBody>
          <a:bodyPr/>
          <a:lstStyle/>
          <a:p>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D4DEAD75-1470-58B2-6F9F-189D37AE5FA9}"/>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mn-cs"/>
              </a:rPr>
              <a:t>Event Value Uplift (%) &gt;5%</a:t>
            </a:r>
          </a:p>
        </p:txBody>
      </p:sp>
      <p:sp>
        <p:nvSpPr>
          <p:cNvPr id="11" name="Oval 10">
            <a:extLst>
              <a:ext uri="{FF2B5EF4-FFF2-40B4-BE49-F238E27FC236}">
                <a16:creationId xmlns:a16="http://schemas.microsoft.com/office/drawing/2014/main" id="{D1AAD118-3982-3FE6-AB4A-7E682A04C6BF}"/>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0EFDBF96-F62B-3594-2822-E2757DE13622}"/>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35E12F0-14E9-0AF5-383D-C71312A22ACB}"/>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mn-cs"/>
              </a:rPr>
              <a:t>Weeks with VSOD &gt;20%</a:t>
            </a:r>
          </a:p>
        </p:txBody>
      </p:sp>
      <p:graphicFrame>
        <p:nvGraphicFramePr>
          <p:cNvPr id="3" name="Table 2">
            <a:extLst>
              <a:ext uri="{FF2B5EF4-FFF2-40B4-BE49-F238E27FC236}">
                <a16:creationId xmlns:a16="http://schemas.microsoft.com/office/drawing/2014/main" id="{C8272231-EDA3-2EB4-E976-3F0F0B6DED41}"/>
              </a:ext>
            </a:extLst>
          </p:cNvPr>
          <p:cNvGraphicFramePr>
            <a:graphicFrameLocks noGrp="1"/>
          </p:cNvGraphicFramePr>
          <p:nvPr/>
        </p:nvGraphicFramePr>
        <p:xfrm>
          <a:off x="546968" y="1364051"/>
          <a:ext cx="801009" cy="957556"/>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r>
                        <a:rPr lang="en-US" sz="900" dirty="0">
                          <a:highlight>
                            <a:srgbClr val="FFFF00"/>
                          </a:highlight>
                          <a:latin typeface="Nexa Bold" panose="00000800000000000000" pitchFamily="2" charset="0"/>
                        </a:rPr>
                        <a:t>Kaufland</a:t>
                      </a:r>
                      <a:endParaRPr lang="en-CH" sz="900" dirty="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80994830"/>
                  </a:ext>
                </a:extLst>
              </a:tr>
            </a:tbl>
          </a:graphicData>
        </a:graphic>
      </p:graphicFrame>
      <p:graphicFrame>
        <p:nvGraphicFramePr>
          <p:cNvPr id="10" name="Chart 9">
            <a:extLst>
              <a:ext uri="{FF2B5EF4-FFF2-40B4-BE49-F238E27FC236}">
                <a16:creationId xmlns:a16="http://schemas.microsoft.com/office/drawing/2014/main" id="{AF688A9F-6A1E-E8D1-5206-5F35E0C223EA}"/>
              </a:ext>
            </a:extLst>
          </p:cNvPr>
          <p:cNvGraphicFramePr/>
          <p:nvPr>
            <p:extLst>
              <p:ext uri="{D42A27DB-BD31-4B8C-83A1-F6EECF244321}">
                <p14:modId xmlns:p14="http://schemas.microsoft.com/office/powerpoint/2010/main" val="1251783051"/>
              </p:ext>
            </p:extLst>
          </p:nvPr>
        </p:nvGraphicFramePr>
        <p:xfrm>
          <a:off x="1347976" y="1333400"/>
          <a:ext cx="7300566" cy="1510384"/>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20164759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9A74A6-A795-CE79-8C39-495A20EFB579}"/>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2DCC7D2-AA42-3C73-3D0E-CA46E36A7FB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63E2AE8E-4C30-FE9E-7D13-A332318FB41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8532D7D4-9D0E-8F6B-387E-FCD29E76B66B}"/>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C3572431-5FDA-4C15-BC5A-5EE3413ECCC7}"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Footer Placeholder 1">
            <a:extLst>
              <a:ext uri="{FF2B5EF4-FFF2-40B4-BE49-F238E27FC236}">
                <a16:creationId xmlns:a16="http://schemas.microsoft.com/office/drawing/2014/main" id="{04C31CC0-F4A5-1822-031A-D80FBCEFB1C6}"/>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8" name="Slide Number Placeholder 7">
            <a:extLst>
              <a:ext uri="{FF2B5EF4-FFF2-40B4-BE49-F238E27FC236}">
                <a16:creationId xmlns:a16="http://schemas.microsoft.com/office/drawing/2014/main" id="{98AD9E9E-68FC-D2ED-5793-9ECF80CBE0E2}"/>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Text Placeholder 3">
            <a:extLst>
              <a:ext uri="{FF2B5EF4-FFF2-40B4-BE49-F238E27FC236}">
                <a16:creationId xmlns:a16="http://schemas.microsoft.com/office/drawing/2014/main" id="{D8870972-6E56-C568-450C-EA7488ABB91A}"/>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6" name="Text Placeholder 5">
            <a:extLst>
              <a:ext uri="{FF2B5EF4-FFF2-40B4-BE49-F238E27FC236}">
                <a16:creationId xmlns:a16="http://schemas.microsoft.com/office/drawing/2014/main" id="{D478BDEC-4F50-B693-CAA2-ADF3EEFD40E7}"/>
              </a:ext>
            </a:extLst>
          </p:cNvPr>
          <p:cNvSpPr>
            <a:spLocks noGrp="1"/>
          </p:cNvSpPr>
          <p:nvPr>
            <p:ph type="body" sz="quarter" idx="18"/>
          </p:nvPr>
        </p:nvSpPr>
        <p:spPr>
          <a:xfrm>
            <a:off x="503238" y="774000"/>
            <a:ext cx="8136762" cy="360000"/>
          </a:xfrm>
        </p:spPr>
        <p:txBody>
          <a:bodyPr/>
          <a:lstStyle/>
          <a:p>
            <a:r>
              <a:rPr lang="en-GB"/>
              <a:t>Promotional Frequency Analysis | Economy | </a:t>
            </a:r>
            <a:r>
              <a:rPr lang="en-GB" err="1"/>
              <a:t>Bucegi</a:t>
            </a:r>
            <a:r>
              <a:rPr lang="en-GB"/>
              <a:t> | P12M</a:t>
            </a:r>
          </a:p>
        </p:txBody>
      </p:sp>
      <p:sp>
        <p:nvSpPr>
          <p:cNvPr id="20" name="Title 19">
            <a:extLst>
              <a:ext uri="{FF2B5EF4-FFF2-40B4-BE49-F238E27FC236}">
                <a16:creationId xmlns:a16="http://schemas.microsoft.com/office/drawing/2014/main" id="{1DA5462C-C7E5-8D84-AB19-B01FA32675C7}"/>
              </a:ext>
            </a:extLst>
          </p:cNvPr>
          <p:cNvSpPr>
            <a:spLocks noGrp="1"/>
          </p:cNvSpPr>
          <p:nvPr>
            <p:ph type="title"/>
          </p:nvPr>
        </p:nvSpPr>
        <p:spPr>
          <a:xfrm>
            <a:off x="504000" y="-1"/>
            <a:ext cx="8136000" cy="771525"/>
          </a:xfrm>
          <a:noFill/>
        </p:spPr>
        <p:txBody>
          <a:bodyPr/>
          <a:lstStyle/>
          <a:p>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E5BB5A87-2F25-4479-E7A4-F56174768DB6}"/>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Dubai Light"/>
              </a:rPr>
              <a:t>Event Value Uplift (%) &gt;5%</a:t>
            </a:r>
          </a:p>
        </p:txBody>
      </p:sp>
      <p:sp>
        <p:nvSpPr>
          <p:cNvPr id="11" name="Oval 10">
            <a:extLst>
              <a:ext uri="{FF2B5EF4-FFF2-40B4-BE49-F238E27FC236}">
                <a16:creationId xmlns:a16="http://schemas.microsoft.com/office/drawing/2014/main" id="{D00CE631-517E-C6FF-E1A7-F125131A9D46}"/>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A4E4B0DB-B2C0-C69B-2EAC-38AE18FDD870}"/>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F09CFE6-69A7-C7F1-2DAA-5AB620677C36}"/>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Dubai Light"/>
              </a:rPr>
              <a:t>Weeks with VSOD &gt;20%</a:t>
            </a:r>
          </a:p>
        </p:txBody>
      </p:sp>
      <p:graphicFrame>
        <p:nvGraphicFramePr>
          <p:cNvPr id="3" name="Table 2">
            <a:extLst>
              <a:ext uri="{FF2B5EF4-FFF2-40B4-BE49-F238E27FC236}">
                <a16:creationId xmlns:a16="http://schemas.microsoft.com/office/drawing/2014/main" id="{EAF0EB5E-DB0F-2EBC-C1D5-5639F7C6A6CE}"/>
              </a:ext>
            </a:extLst>
          </p:cNvPr>
          <p:cNvGraphicFramePr>
            <a:graphicFrameLocks noGrp="1"/>
          </p:cNvGraphicFramePr>
          <p:nvPr/>
        </p:nvGraphicFramePr>
        <p:xfrm>
          <a:off x="546968" y="1364051"/>
          <a:ext cx="801009" cy="1915112"/>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r>
                        <a:rPr lang="en-US" sz="900" dirty="0" err="1">
                          <a:highlight>
                            <a:srgbClr val="FFFF00"/>
                          </a:highlight>
                          <a:latin typeface="Nexa Bold" panose="00000800000000000000" pitchFamily="2" charset="0"/>
                        </a:rPr>
                        <a:t>Profi</a:t>
                      </a:r>
                      <a:endParaRPr lang="en-US" sz="900" dirty="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22659435"/>
                  </a:ext>
                </a:extLst>
              </a:tr>
              <a:tr h="957556">
                <a:tc>
                  <a:txBody>
                    <a:bodyPr/>
                    <a:lstStyle/>
                    <a:p>
                      <a:r>
                        <a:rPr lang="en-US" sz="900" dirty="0">
                          <a:highlight>
                            <a:srgbClr val="FFFF00"/>
                          </a:highlight>
                          <a:latin typeface="Nexa Bold" panose="00000800000000000000" pitchFamily="2" charset="0"/>
                        </a:rPr>
                        <a:t>Penny</a:t>
                      </a:r>
                      <a:endParaRPr lang="en-CH" sz="900" dirty="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4957612"/>
                  </a:ext>
                </a:extLst>
              </a:tr>
            </a:tbl>
          </a:graphicData>
        </a:graphic>
      </p:graphicFrame>
      <p:graphicFrame>
        <p:nvGraphicFramePr>
          <p:cNvPr id="15" name="Chart 14">
            <a:extLst>
              <a:ext uri="{FF2B5EF4-FFF2-40B4-BE49-F238E27FC236}">
                <a16:creationId xmlns:a16="http://schemas.microsoft.com/office/drawing/2014/main" id="{2C71707F-2392-7965-7295-8624E7A0741E}"/>
              </a:ext>
            </a:extLst>
          </p:cNvPr>
          <p:cNvGraphicFramePr/>
          <p:nvPr/>
        </p:nvGraphicFramePr>
        <p:xfrm>
          <a:off x="1347977" y="1361938"/>
          <a:ext cx="7292024" cy="96206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7" name="Chart 16">
            <a:extLst>
              <a:ext uri="{FF2B5EF4-FFF2-40B4-BE49-F238E27FC236}">
                <a16:creationId xmlns:a16="http://schemas.microsoft.com/office/drawing/2014/main" id="{FAA7897A-7271-E11F-7BEB-579939ACD547}"/>
              </a:ext>
            </a:extLst>
          </p:cNvPr>
          <p:cNvGraphicFramePr/>
          <p:nvPr/>
        </p:nvGraphicFramePr>
        <p:xfrm>
          <a:off x="1347976" y="2324000"/>
          <a:ext cx="7300566" cy="1510384"/>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9524668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BEEAFD28-7A86-D661-445F-8A87117C4D5F}"/>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BEEAFD28-7A86-D661-445F-8A87117C4D5F}"/>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2AE6370A-FCC9-0DD3-BA63-97C29F486F85}"/>
              </a:ext>
            </a:extLst>
          </p:cNvPr>
          <p:cNvSpPr>
            <a:spLocks noGrp="1"/>
          </p:cNvSpPr>
          <p:nvPr>
            <p:ph type="dt" sz="half" idx="14"/>
          </p:nvPr>
        </p:nvSpPr>
        <p:spPr>
          <a:xfrm>
            <a:off x="8082390" y="4972050"/>
            <a:ext cx="557609" cy="171450"/>
          </a:xfrm>
        </p:spPr>
        <p:txBody>
          <a:bodyPr/>
          <a:lstStyle/>
          <a:p>
            <a:fld id="{137A5A6B-1D04-4253-BE52-9327F172A452}" type="datetime1">
              <a:rPr lang="en-US"/>
              <a:pPr/>
              <a:t>1/27/2025</a:t>
            </a:fld>
            <a:endParaRPr lang="en-US"/>
          </a:p>
        </p:txBody>
      </p:sp>
      <p:sp>
        <p:nvSpPr>
          <p:cNvPr id="4" name="Footer Placeholder 3">
            <a:extLst>
              <a:ext uri="{FF2B5EF4-FFF2-40B4-BE49-F238E27FC236}">
                <a16:creationId xmlns:a16="http://schemas.microsoft.com/office/drawing/2014/main" id="{A2832584-706C-4382-AF50-0823DF5C2D22}"/>
              </a:ext>
            </a:extLst>
          </p:cNvPr>
          <p:cNvSpPr>
            <a:spLocks noGrp="1"/>
          </p:cNvSpPr>
          <p:nvPr>
            <p:ph type="ftr" sz="quarter" idx="15"/>
          </p:nvPr>
        </p:nvSpPr>
        <p:spPr>
          <a:xfrm>
            <a:off x="546969" y="4970700"/>
            <a:ext cx="6451742" cy="174151"/>
          </a:xfrm>
        </p:spPr>
        <p:txBody>
          <a:bodyPr/>
          <a:lstStyle/>
          <a:p>
            <a:endParaRPr lang="en-US"/>
          </a:p>
        </p:txBody>
      </p:sp>
      <p:sp>
        <p:nvSpPr>
          <p:cNvPr id="3" name="Slide Number Placeholder 2">
            <a:extLst>
              <a:ext uri="{FF2B5EF4-FFF2-40B4-BE49-F238E27FC236}">
                <a16:creationId xmlns:a16="http://schemas.microsoft.com/office/drawing/2014/main" id="{C38F0F28-1A01-6874-5418-B8FD2F31AB62}"/>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a:t>
            </a:fld>
            <a:endParaRPr lang="en-US"/>
          </a:p>
        </p:txBody>
      </p:sp>
      <p:sp>
        <p:nvSpPr>
          <p:cNvPr id="5" name="Text Placeholder 4">
            <a:extLst>
              <a:ext uri="{FF2B5EF4-FFF2-40B4-BE49-F238E27FC236}">
                <a16:creationId xmlns:a16="http://schemas.microsoft.com/office/drawing/2014/main" id="{E7922D6F-A446-8634-C351-325C82E3E207}"/>
              </a:ext>
            </a:extLst>
          </p:cNvPr>
          <p:cNvSpPr>
            <a:spLocks noGrp="1"/>
          </p:cNvSpPr>
          <p:nvPr>
            <p:ph type="body" sz="quarter" idx="17"/>
          </p:nvPr>
        </p:nvSpPr>
        <p:spPr>
          <a:xfrm>
            <a:off x="0" y="4734106"/>
            <a:ext cx="4572000" cy="222878"/>
          </a:xfrm>
        </p:spPr>
        <p:txBody>
          <a:bodyPr/>
          <a:lstStyle/>
          <a:p>
            <a:r>
              <a:rPr lang="en-US"/>
              <a:t>DATA SOURCE: Trade Panel/Retailer Data | Ending Dec 2022</a:t>
            </a:r>
            <a:endParaRPr lang="da-DK"/>
          </a:p>
        </p:txBody>
      </p:sp>
      <p:sp>
        <p:nvSpPr>
          <p:cNvPr id="6" name="Text Placeholder 5">
            <a:extLst>
              <a:ext uri="{FF2B5EF4-FFF2-40B4-BE49-F238E27FC236}">
                <a16:creationId xmlns:a16="http://schemas.microsoft.com/office/drawing/2014/main" id="{117FAC48-0BC8-9EEF-704E-B6A60F125B14}"/>
              </a:ext>
            </a:extLst>
          </p:cNvPr>
          <p:cNvSpPr>
            <a:spLocks noGrp="1"/>
          </p:cNvSpPr>
          <p:nvPr>
            <p:ph type="body" sz="quarter" idx="18"/>
          </p:nvPr>
        </p:nvSpPr>
        <p:spPr>
          <a:xfrm>
            <a:off x="503238" y="774000"/>
            <a:ext cx="8136762" cy="360000"/>
          </a:xfrm>
        </p:spPr>
        <p:txBody>
          <a:bodyPr lIns="91440" tIns="45720" rIns="91440" bIns="45720" anchor="t"/>
          <a:lstStyle/>
          <a:p>
            <a:r>
              <a:rPr lang="en-US" dirty="0"/>
              <a:t>Volume sold on deal Summary | By Brand | By Sector | Category | National | P12M</a:t>
            </a:r>
            <a:endParaRPr lang="en-AE" dirty="0"/>
          </a:p>
        </p:txBody>
      </p:sp>
      <p:sp>
        <p:nvSpPr>
          <p:cNvPr id="7" name="Title 6">
            <a:extLst>
              <a:ext uri="{FF2B5EF4-FFF2-40B4-BE49-F238E27FC236}">
                <a16:creationId xmlns:a16="http://schemas.microsoft.com/office/drawing/2014/main" id="{2681A043-873B-7332-A980-7DB230DD3689}"/>
              </a:ext>
            </a:extLst>
          </p:cNvPr>
          <p:cNvSpPr>
            <a:spLocks noGrp="1"/>
          </p:cNvSpPr>
          <p:nvPr>
            <p:ph type="title"/>
          </p:nvPr>
        </p:nvSpPr>
        <p:spPr>
          <a:xfrm>
            <a:off x="504000" y="-1"/>
            <a:ext cx="8136000" cy="771525"/>
          </a:xfrm>
          <a:noFill/>
        </p:spPr>
        <p:txBody>
          <a:bodyPr vert="horz" lIns="91440" tIns="45720" rIns="91440" bIns="45720" anchor="b"/>
          <a:lstStyle/>
          <a:p>
            <a:r>
              <a:rPr lang="en-US" dirty="0">
                <a:highlight>
                  <a:srgbClr val="FFFF00"/>
                </a:highlight>
              </a:rPr>
              <a:t>VSOD Summary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9" name="T1">
            <a:extLst>
              <a:ext uri="{FF2B5EF4-FFF2-40B4-BE49-F238E27FC236}">
                <a16:creationId xmlns:a16="http://schemas.microsoft.com/office/drawing/2014/main" id="{7108F197-7AB0-011A-C04E-4916F0733682}"/>
              </a:ext>
            </a:extLst>
          </p:cNvPr>
          <p:cNvGraphicFramePr>
            <a:graphicFrameLocks noGrp="1"/>
          </p:cNvGraphicFramePr>
          <p:nvPr>
            <p:extLst>
              <p:ext uri="{D42A27DB-BD31-4B8C-83A1-F6EECF244321}">
                <p14:modId xmlns:p14="http://schemas.microsoft.com/office/powerpoint/2010/main" val="2570051479"/>
              </p:ext>
            </p:extLst>
          </p:nvPr>
        </p:nvGraphicFramePr>
        <p:xfrm>
          <a:off x="541080" y="1133761"/>
          <a:ext cx="8094124" cy="3801000"/>
        </p:xfrm>
        <a:graphic>
          <a:graphicData uri="http://schemas.openxmlformats.org/drawingml/2006/table">
            <a:tbl>
              <a:tblPr firstRow="1" bandRow="1">
                <a:tableStyleId>{5C22544A-7EE6-4342-B048-85BDC9FD1C3A}</a:tableStyleId>
              </a:tblPr>
              <a:tblGrid>
                <a:gridCol w="1618824">
                  <a:extLst>
                    <a:ext uri="{9D8B030D-6E8A-4147-A177-3AD203B41FA5}">
                      <a16:colId xmlns:a16="http://schemas.microsoft.com/office/drawing/2014/main" val="2374043349"/>
                    </a:ext>
                  </a:extLst>
                </a:gridCol>
                <a:gridCol w="1295060">
                  <a:extLst>
                    <a:ext uri="{9D8B030D-6E8A-4147-A177-3AD203B41FA5}">
                      <a16:colId xmlns:a16="http://schemas.microsoft.com/office/drawing/2014/main" val="8673104"/>
                    </a:ext>
                  </a:extLst>
                </a:gridCol>
                <a:gridCol w="1295060">
                  <a:extLst>
                    <a:ext uri="{9D8B030D-6E8A-4147-A177-3AD203B41FA5}">
                      <a16:colId xmlns:a16="http://schemas.microsoft.com/office/drawing/2014/main" val="1028273140"/>
                    </a:ext>
                  </a:extLst>
                </a:gridCol>
                <a:gridCol w="1295060">
                  <a:extLst>
                    <a:ext uri="{9D8B030D-6E8A-4147-A177-3AD203B41FA5}">
                      <a16:colId xmlns:a16="http://schemas.microsoft.com/office/drawing/2014/main" val="2342841255"/>
                    </a:ext>
                  </a:extLst>
                </a:gridCol>
                <a:gridCol w="1295060">
                  <a:extLst>
                    <a:ext uri="{9D8B030D-6E8A-4147-A177-3AD203B41FA5}">
                      <a16:colId xmlns:a16="http://schemas.microsoft.com/office/drawing/2014/main" val="1336055313"/>
                    </a:ext>
                  </a:extLst>
                </a:gridCol>
                <a:gridCol w="1295060">
                  <a:extLst>
                    <a:ext uri="{9D8B030D-6E8A-4147-A177-3AD203B41FA5}">
                      <a16:colId xmlns:a16="http://schemas.microsoft.com/office/drawing/2014/main" val="481471067"/>
                    </a:ext>
                  </a:extLst>
                </a:gridCol>
              </a:tblGrid>
              <a:tr h="365007">
                <a:tc>
                  <a:txBody>
                    <a:bodyPr/>
                    <a:lstStyle/>
                    <a:p>
                      <a:pPr algn="ctr"/>
                      <a:endParaRPr lang="en-US" sz="1000" b="0" i="0" kern="1200">
                        <a:solidFill>
                          <a:srgbClr val="575555"/>
                        </a:solidFill>
                        <a:latin typeface="Nexa Bold" panose="00000800000000000000" pitchFamily="2" charset="0"/>
                        <a:ea typeface="+mn-ea"/>
                        <a:cs typeface="+mn-cs"/>
                      </a:endParaRPr>
                    </a:p>
                  </a:txBody>
                  <a:tcPr marL="68580" marR="68580" marT="68580" marB="3429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Thin</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Takeaway</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Snacking</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Deep</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Dietary</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81777">
                <a:tc>
                  <a:txBody>
                    <a:bodyPr/>
                    <a:lstStyle/>
                    <a:p>
                      <a:pPr algn="ctr" fontAlgn="b"/>
                      <a:r>
                        <a:rPr lang="en-US" sz="800" b="0" i="0" kern="1200" dirty="0">
                          <a:solidFill>
                            <a:srgbClr val="575555"/>
                          </a:solidFill>
                          <a:latin typeface="Nexa Bold" panose="00000800000000000000" pitchFamily="2" charset="0"/>
                          <a:ea typeface="+mn-ea"/>
                          <a:cs typeface="+mn-cs"/>
                        </a:rPr>
                        <a:t>Total</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5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51%</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55%</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6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4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165046662"/>
                  </a:ext>
                </a:extLst>
              </a:tr>
              <a:tr h="381777">
                <a:tc>
                  <a:txBody>
                    <a:bodyPr/>
                    <a:lstStyle/>
                    <a:p>
                      <a:pPr algn="ctr" fontAlgn="b"/>
                      <a:r>
                        <a:rPr lang="en-US" sz="800" b="0" i="0" kern="1200" dirty="0">
                          <a:solidFill>
                            <a:srgbClr val="575555"/>
                          </a:solidFill>
                          <a:latin typeface="Nexa Bold" panose="00000800000000000000" pitchFamily="2" charset="0"/>
                          <a:ea typeface="+mn-ea"/>
                          <a:cs typeface="+mn-cs"/>
                        </a:rPr>
                        <a:t>Goodfella’s</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3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ld" panose="00000800000000000000" pitchFamily="2" charset="0"/>
                          <a:ea typeface="Open Sans"/>
                          <a:cs typeface="Open Sans"/>
                        </a:rPr>
                        <a:t>41%</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ld" panose="00000800000000000000" pitchFamily="2" charset="0"/>
                          <a:ea typeface="Open Sans"/>
                          <a:cs typeface="Open Sans"/>
                        </a:rPr>
                        <a:t>2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ld" panose="00000800000000000000" pitchFamily="2" charset="0"/>
                          <a:ea typeface="Open Sans"/>
                          <a:cs typeface="Open Sans"/>
                        </a:rPr>
                        <a:t>23%</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49%</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7609235"/>
                  </a:ext>
                </a:extLst>
              </a:tr>
              <a:tr h="381777">
                <a:tc>
                  <a:txBody>
                    <a:bodyPr/>
                    <a:lstStyle/>
                    <a:p>
                      <a:pPr algn="ctr" fontAlgn="b"/>
                      <a:r>
                        <a:rPr lang="en-US" sz="800" b="0" i="0" kern="1200">
                          <a:solidFill>
                            <a:srgbClr val="575555"/>
                          </a:solidFill>
                          <a:latin typeface="Nexa Bold" panose="00000800000000000000" pitchFamily="2" charset="0"/>
                          <a:ea typeface="+mn-ea"/>
                          <a:cs typeface="+mn-cs"/>
                        </a:rPr>
                        <a:t>Chicago Town </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6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6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ok"/>
                          <a:ea typeface="Open Sans"/>
                          <a:cs typeface="Open Sans"/>
                        </a:rPr>
                        <a:t>49%</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96994351"/>
                  </a:ext>
                </a:extLst>
              </a:tr>
              <a:tr h="381777">
                <a:tc>
                  <a:txBody>
                    <a:bodyPr/>
                    <a:lstStyle/>
                    <a:p>
                      <a:pPr algn="ctr" fontAlgn="b"/>
                      <a:r>
                        <a:rPr lang="en-US" sz="800" b="0" i="0" kern="1200">
                          <a:solidFill>
                            <a:srgbClr val="575555"/>
                          </a:solidFill>
                          <a:latin typeface="Nexa Bold" panose="00000800000000000000" pitchFamily="2" charset="0"/>
                          <a:ea typeface="+mn-ea"/>
                          <a:cs typeface="+mn-cs"/>
                        </a:rPr>
                        <a:t>Dr Oetker </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ok"/>
                          <a:ea typeface="Open Sans"/>
                          <a:cs typeface="Open Sans"/>
                        </a:rPr>
                        <a:t>5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58%</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ok"/>
                          <a:ea typeface="Open Sans"/>
                          <a:cs typeface="Open Sans"/>
                        </a:rPr>
                        <a:t>4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81777">
                <a:tc>
                  <a:txBody>
                    <a:bodyPr/>
                    <a:lstStyle/>
                    <a:p>
                      <a:pPr algn="ctr" fontAlgn="b"/>
                      <a:r>
                        <a:rPr lang="en-US" sz="800" b="0" i="0" kern="1200">
                          <a:solidFill>
                            <a:srgbClr val="575555"/>
                          </a:solidFill>
                          <a:latin typeface="Nexa Bold" panose="00000800000000000000" pitchFamily="2" charset="0"/>
                          <a:ea typeface="+mn-ea"/>
                          <a:cs typeface="+mn-cs"/>
                        </a:rPr>
                        <a:t>Gigantic </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8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1102018"/>
                  </a:ext>
                </a:extLst>
              </a:tr>
              <a:tr h="381777">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39445379"/>
                  </a:ext>
                </a:extLst>
              </a:tr>
              <a:tr h="381777">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29831157"/>
                  </a:ext>
                </a:extLst>
              </a:tr>
              <a:tr h="381777">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66783464"/>
                  </a:ext>
                </a:extLst>
              </a:tr>
              <a:tr h="381777">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21538582"/>
                  </a:ext>
                </a:extLst>
              </a:tr>
            </a:tbl>
          </a:graphicData>
        </a:graphic>
      </p:graphicFrame>
    </p:spTree>
    <p:extLst>
      <p:ext uri="{BB962C8B-B14F-4D97-AF65-F5344CB8AC3E}">
        <p14:creationId xmlns:p14="http://schemas.microsoft.com/office/powerpoint/2010/main" val="73573680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6B1BB7-0332-B88C-6619-0986C527E75B}"/>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183FC888-5F26-8EB6-D0E3-95394288A47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485F1A87-D3CC-A322-7838-907D2FF0C08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2AA8D690-7502-DA41-FEC8-0B8878AD7C4D}"/>
              </a:ext>
            </a:extLst>
          </p:cNvPr>
          <p:cNvSpPr>
            <a:spLocks noGrp="1"/>
          </p:cNvSpPr>
          <p:nvPr>
            <p:ph type="dt" sz="half" idx="14"/>
          </p:nvPr>
        </p:nvSpPr>
        <p:spPr>
          <a:xfrm>
            <a:off x="8082390" y="4972050"/>
            <a:ext cx="557609" cy="171450"/>
          </a:xfrm>
        </p:spPr>
        <p:txBody>
          <a:bodyPr/>
          <a:lstStyle/>
          <a:p>
            <a:pPr lvl="0"/>
            <a:fld id="{C3572431-5FDA-4C15-BC5A-5EE3413ECCC7}" type="datetime1">
              <a:rPr lang="en-US" noProof="0" smtClean="0"/>
              <a:pPr lvl="0"/>
              <a:t>1/27/2025</a:t>
            </a:fld>
            <a:endParaRPr lang="en-US" noProof="0"/>
          </a:p>
        </p:txBody>
      </p:sp>
      <p:sp>
        <p:nvSpPr>
          <p:cNvPr id="2" name="Footer Placeholder 1">
            <a:extLst>
              <a:ext uri="{FF2B5EF4-FFF2-40B4-BE49-F238E27FC236}">
                <a16:creationId xmlns:a16="http://schemas.microsoft.com/office/drawing/2014/main" id="{66107D41-CF1E-DEF7-E36E-2F9BBF21962E}"/>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9CFCE79D-D48C-971A-FEDA-189A66F55B5D}"/>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4" name="Text Placeholder 3">
            <a:extLst>
              <a:ext uri="{FF2B5EF4-FFF2-40B4-BE49-F238E27FC236}">
                <a16:creationId xmlns:a16="http://schemas.microsoft.com/office/drawing/2014/main" id="{DEEAB759-D984-C34D-E421-C858B285971B}"/>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6" name="Text Placeholder 5">
            <a:extLst>
              <a:ext uri="{FF2B5EF4-FFF2-40B4-BE49-F238E27FC236}">
                <a16:creationId xmlns:a16="http://schemas.microsoft.com/office/drawing/2014/main" id="{6206781B-F7E9-C270-6371-CAA70F71363A}"/>
              </a:ext>
            </a:extLst>
          </p:cNvPr>
          <p:cNvSpPr>
            <a:spLocks noGrp="1"/>
          </p:cNvSpPr>
          <p:nvPr>
            <p:ph type="body" sz="quarter" idx="18"/>
          </p:nvPr>
        </p:nvSpPr>
        <p:spPr>
          <a:xfrm>
            <a:off x="503238" y="774000"/>
            <a:ext cx="8136762" cy="360000"/>
          </a:xfrm>
        </p:spPr>
        <p:txBody>
          <a:bodyPr/>
          <a:lstStyle/>
          <a:p>
            <a:r>
              <a:rPr lang="en-GB"/>
              <a:t>Promotional Frequency Analysis | Economy | </a:t>
            </a:r>
            <a:r>
              <a:rPr lang="en-GB" err="1"/>
              <a:t>Bucegi</a:t>
            </a:r>
            <a:r>
              <a:rPr lang="en-GB"/>
              <a:t> | P12M</a:t>
            </a:r>
          </a:p>
        </p:txBody>
      </p:sp>
      <p:sp>
        <p:nvSpPr>
          <p:cNvPr id="20" name="Title 19">
            <a:extLst>
              <a:ext uri="{FF2B5EF4-FFF2-40B4-BE49-F238E27FC236}">
                <a16:creationId xmlns:a16="http://schemas.microsoft.com/office/drawing/2014/main" id="{04A4CE9A-975A-EB66-B458-C49A28474E63}"/>
              </a:ext>
            </a:extLst>
          </p:cNvPr>
          <p:cNvSpPr>
            <a:spLocks noGrp="1"/>
          </p:cNvSpPr>
          <p:nvPr>
            <p:ph type="title"/>
          </p:nvPr>
        </p:nvSpPr>
        <p:spPr>
          <a:xfrm>
            <a:off x="504000" y="-1"/>
            <a:ext cx="8136000" cy="771525"/>
          </a:xfrm>
          <a:noFill/>
        </p:spPr>
        <p:txBody>
          <a:bodyPr/>
          <a:lstStyle/>
          <a:p>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36DCD526-CC4E-88E3-27A8-6CC5E3D60C91}"/>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mn-cs"/>
              </a:rPr>
              <a:t>Event Value Uplift (%) &gt;5%</a:t>
            </a:r>
          </a:p>
        </p:txBody>
      </p:sp>
      <p:sp>
        <p:nvSpPr>
          <p:cNvPr id="11" name="Oval 10">
            <a:extLst>
              <a:ext uri="{FF2B5EF4-FFF2-40B4-BE49-F238E27FC236}">
                <a16:creationId xmlns:a16="http://schemas.microsoft.com/office/drawing/2014/main" id="{A94F9C3B-C5BF-23EA-4A7F-4DF025209883}"/>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47BC1835-4097-DEF2-FFEF-AECDAE757A21}"/>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FD7CD205-0326-1EA9-C370-F8E9863E18A0}"/>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mn-cs"/>
              </a:rPr>
              <a:t>Weeks with VSOD &gt;20%</a:t>
            </a:r>
          </a:p>
        </p:txBody>
      </p:sp>
      <p:graphicFrame>
        <p:nvGraphicFramePr>
          <p:cNvPr id="15" name="Table 14">
            <a:extLst>
              <a:ext uri="{FF2B5EF4-FFF2-40B4-BE49-F238E27FC236}">
                <a16:creationId xmlns:a16="http://schemas.microsoft.com/office/drawing/2014/main" id="{6064F70F-20AA-3AA4-E150-7E77F8111238}"/>
              </a:ext>
            </a:extLst>
          </p:cNvPr>
          <p:cNvGraphicFramePr>
            <a:graphicFrameLocks noGrp="1"/>
          </p:cNvGraphicFramePr>
          <p:nvPr/>
        </p:nvGraphicFramePr>
        <p:xfrm>
          <a:off x="546968" y="1364051"/>
          <a:ext cx="801009" cy="2872668"/>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r>
                        <a:rPr lang="en-US" sz="900">
                          <a:highlight>
                            <a:srgbClr val="FFFF00"/>
                          </a:highlight>
                          <a:latin typeface="Nexa Bold" panose="00000800000000000000" pitchFamily="2" charset="0"/>
                        </a:rPr>
                        <a:t>Kaufland</a:t>
                      </a:r>
                      <a:endParaRPr lang="en-CH" sz="90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80994830"/>
                  </a:ext>
                </a:extLst>
              </a:tr>
              <a:tr h="957556">
                <a:tc>
                  <a:txBody>
                    <a:bodyPr/>
                    <a:lstStyle/>
                    <a:p>
                      <a:r>
                        <a:rPr lang="en-US" sz="900" err="1">
                          <a:highlight>
                            <a:srgbClr val="FFFF00"/>
                          </a:highlight>
                          <a:latin typeface="Nexa Bold" panose="00000800000000000000" pitchFamily="2" charset="0"/>
                        </a:rPr>
                        <a:t>Profi</a:t>
                      </a:r>
                      <a:endParaRPr lang="en-US" sz="90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22659435"/>
                  </a:ext>
                </a:extLst>
              </a:tr>
              <a:tr h="957556">
                <a:tc>
                  <a:txBody>
                    <a:bodyPr/>
                    <a:lstStyle/>
                    <a:p>
                      <a:r>
                        <a:rPr lang="en-US" sz="900" dirty="0">
                          <a:highlight>
                            <a:srgbClr val="FFFF00"/>
                          </a:highlight>
                          <a:latin typeface="Nexa Bold" panose="00000800000000000000" pitchFamily="2" charset="0"/>
                        </a:rPr>
                        <a:t>Penny</a:t>
                      </a:r>
                      <a:endParaRPr lang="en-CH" sz="900" dirty="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4957612"/>
                  </a:ext>
                </a:extLst>
              </a:tr>
            </a:tbl>
          </a:graphicData>
        </a:graphic>
      </p:graphicFrame>
      <p:graphicFrame>
        <p:nvGraphicFramePr>
          <p:cNvPr id="17" name="Chart 16">
            <a:extLst>
              <a:ext uri="{FF2B5EF4-FFF2-40B4-BE49-F238E27FC236}">
                <a16:creationId xmlns:a16="http://schemas.microsoft.com/office/drawing/2014/main" id="{DC110851-97B6-D171-DE71-0D1E5AF9BDB5}"/>
              </a:ext>
            </a:extLst>
          </p:cNvPr>
          <p:cNvGraphicFramePr/>
          <p:nvPr>
            <p:extLst>
              <p:ext uri="{D42A27DB-BD31-4B8C-83A1-F6EECF244321}">
                <p14:modId xmlns:p14="http://schemas.microsoft.com/office/powerpoint/2010/main" val="2645161283"/>
              </p:ext>
            </p:extLst>
          </p:nvPr>
        </p:nvGraphicFramePr>
        <p:xfrm>
          <a:off x="1347977" y="1366269"/>
          <a:ext cx="7300565" cy="96206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8" name="Chart 17">
            <a:extLst>
              <a:ext uri="{FF2B5EF4-FFF2-40B4-BE49-F238E27FC236}">
                <a16:creationId xmlns:a16="http://schemas.microsoft.com/office/drawing/2014/main" id="{4660185D-F73E-33A3-1659-B3CB7E065790}"/>
              </a:ext>
            </a:extLst>
          </p:cNvPr>
          <p:cNvGraphicFramePr/>
          <p:nvPr/>
        </p:nvGraphicFramePr>
        <p:xfrm>
          <a:off x="1347977" y="2315962"/>
          <a:ext cx="7292024" cy="96206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9" name="Chart 18">
            <a:extLst>
              <a:ext uri="{FF2B5EF4-FFF2-40B4-BE49-F238E27FC236}">
                <a16:creationId xmlns:a16="http://schemas.microsoft.com/office/drawing/2014/main" id="{5560D566-CFA0-CB82-9821-A877BE9412B1}"/>
              </a:ext>
            </a:extLst>
          </p:cNvPr>
          <p:cNvGraphicFramePr/>
          <p:nvPr>
            <p:extLst>
              <p:ext uri="{D42A27DB-BD31-4B8C-83A1-F6EECF244321}">
                <p14:modId xmlns:p14="http://schemas.microsoft.com/office/powerpoint/2010/main" val="3625103377"/>
              </p:ext>
            </p:extLst>
          </p:nvPr>
        </p:nvGraphicFramePr>
        <p:xfrm>
          <a:off x="1347976" y="3278024"/>
          <a:ext cx="7300566" cy="1510384"/>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79985231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16F2A5-DBD1-6183-266E-7BE86D66DE1B}"/>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0371FAE5-2F64-DD77-CB90-903A08FC003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485F1A87-D3CC-A322-7838-907D2FF0C08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6AC208-DA89-A6A3-A884-845C6DCDC93E}"/>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C3572431-5FDA-4C15-BC5A-5EE3413ECCC7}"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Footer Placeholder 1">
            <a:extLst>
              <a:ext uri="{FF2B5EF4-FFF2-40B4-BE49-F238E27FC236}">
                <a16:creationId xmlns:a16="http://schemas.microsoft.com/office/drawing/2014/main" id="{26D5B2F0-F981-240A-2FBB-9AACD8839316}"/>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8" name="Slide Number Placeholder 7">
            <a:extLst>
              <a:ext uri="{FF2B5EF4-FFF2-40B4-BE49-F238E27FC236}">
                <a16:creationId xmlns:a16="http://schemas.microsoft.com/office/drawing/2014/main" id="{4103ADAF-02C4-DF4E-65FB-8DDFC41C8C6D}"/>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Text Placeholder 3">
            <a:extLst>
              <a:ext uri="{FF2B5EF4-FFF2-40B4-BE49-F238E27FC236}">
                <a16:creationId xmlns:a16="http://schemas.microsoft.com/office/drawing/2014/main" id="{DD179FF8-F84C-C588-7117-E73BD453C01F}"/>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6" name="Text Placeholder 5">
            <a:extLst>
              <a:ext uri="{FF2B5EF4-FFF2-40B4-BE49-F238E27FC236}">
                <a16:creationId xmlns:a16="http://schemas.microsoft.com/office/drawing/2014/main" id="{B07141CB-DEB2-7B63-561B-BD884F3201EE}"/>
              </a:ext>
            </a:extLst>
          </p:cNvPr>
          <p:cNvSpPr>
            <a:spLocks noGrp="1"/>
          </p:cNvSpPr>
          <p:nvPr>
            <p:ph type="body" sz="quarter" idx="18"/>
          </p:nvPr>
        </p:nvSpPr>
        <p:spPr>
          <a:xfrm>
            <a:off x="503238" y="774000"/>
            <a:ext cx="8136762" cy="360000"/>
          </a:xfrm>
        </p:spPr>
        <p:txBody>
          <a:bodyPr/>
          <a:lstStyle/>
          <a:p>
            <a:r>
              <a:rPr lang="en-GB" dirty="0"/>
              <a:t>Promotional Frequency Analysis | Economy | </a:t>
            </a:r>
            <a:r>
              <a:rPr lang="en-GB" dirty="0" err="1"/>
              <a:t>Bucegi</a:t>
            </a:r>
            <a:r>
              <a:rPr lang="en-GB" dirty="0"/>
              <a:t> | P12M</a:t>
            </a:r>
          </a:p>
        </p:txBody>
      </p:sp>
      <p:sp>
        <p:nvSpPr>
          <p:cNvPr id="20" name="Title 19">
            <a:extLst>
              <a:ext uri="{FF2B5EF4-FFF2-40B4-BE49-F238E27FC236}">
                <a16:creationId xmlns:a16="http://schemas.microsoft.com/office/drawing/2014/main" id="{6ABA3CE5-FEC1-1B17-6619-B7E8BA616072}"/>
              </a:ext>
            </a:extLst>
          </p:cNvPr>
          <p:cNvSpPr>
            <a:spLocks noGrp="1"/>
          </p:cNvSpPr>
          <p:nvPr>
            <p:ph type="title"/>
          </p:nvPr>
        </p:nvSpPr>
        <p:spPr>
          <a:xfrm>
            <a:off x="504000" y="-1"/>
            <a:ext cx="8136000" cy="771525"/>
          </a:xfrm>
          <a:noFill/>
        </p:spPr>
        <p:txBody>
          <a:bodyPr/>
          <a:lstStyle/>
          <a:p>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EA5DC073-21B5-16A1-D0D1-8C9DAA727F9D}"/>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Dubai Light"/>
              </a:rPr>
              <a:t>Event Value Uplift (%) &gt;5%</a:t>
            </a:r>
          </a:p>
        </p:txBody>
      </p:sp>
      <p:sp>
        <p:nvSpPr>
          <p:cNvPr id="11" name="Oval 10">
            <a:extLst>
              <a:ext uri="{FF2B5EF4-FFF2-40B4-BE49-F238E27FC236}">
                <a16:creationId xmlns:a16="http://schemas.microsoft.com/office/drawing/2014/main" id="{1AB84F46-B1E9-AA76-1B1C-45D99A7CD1D7}"/>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630CA1B3-8FA2-738A-0EDD-2BC4AA11D0B7}"/>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AC3E286C-A597-6CAF-1963-CFDCB0FA9E61}"/>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Dubai Light"/>
              </a:rPr>
              <a:t>Weeks with VSOD &gt;20%</a:t>
            </a:r>
          </a:p>
        </p:txBody>
      </p:sp>
      <p:graphicFrame>
        <p:nvGraphicFramePr>
          <p:cNvPr id="18" name="Table 17">
            <a:extLst>
              <a:ext uri="{FF2B5EF4-FFF2-40B4-BE49-F238E27FC236}">
                <a16:creationId xmlns:a16="http://schemas.microsoft.com/office/drawing/2014/main" id="{22B3E0BE-E67D-26F4-F11D-C964DB076F17}"/>
              </a:ext>
            </a:extLst>
          </p:cNvPr>
          <p:cNvGraphicFramePr>
            <a:graphicFrameLocks noGrp="1"/>
          </p:cNvGraphicFramePr>
          <p:nvPr/>
        </p:nvGraphicFramePr>
        <p:xfrm>
          <a:off x="546968" y="1364051"/>
          <a:ext cx="801009" cy="2852528"/>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713132">
                <a:tc>
                  <a:txBody>
                    <a:bodyPr/>
                    <a:lstStyle/>
                    <a:p>
                      <a:r>
                        <a:rPr lang="en-US" sz="900">
                          <a:highlight>
                            <a:srgbClr val="FFFF00"/>
                          </a:highlight>
                          <a:latin typeface="Nexa Bold" panose="00000800000000000000" pitchFamily="2" charset="0"/>
                        </a:rPr>
                        <a:t>Kaufland</a:t>
                      </a:r>
                      <a:endParaRPr lang="en-CH" sz="90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32267898"/>
                  </a:ext>
                </a:extLst>
              </a:tr>
              <a:tr h="713132">
                <a:tc>
                  <a:txBody>
                    <a:bodyPr/>
                    <a:lstStyle/>
                    <a:p>
                      <a:r>
                        <a:rPr lang="en-US" sz="900">
                          <a:highlight>
                            <a:srgbClr val="FFFF00"/>
                          </a:highlight>
                          <a:latin typeface="Nexa Bold" panose="00000800000000000000" pitchFamily="2" charset="0"/>
                        </a:rPr>
                        <a:t>Kaufland</a:t>
                      </a:r>
                      <a:endParaRPr lang="en-CH" sz="90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80994830"/>
                  </a:ext>
                </a:extLst>
              </a:tr>
              <a:tr h="713132">
                <a:tc>
                  <a:txBody>
                    <a:bodyPr/>
                    <a:lstStyle/>
                    <a:p>
                      <a:r>
                        <a:rPr lang="en-US" sz="900" err="1">
                          <a:highlight>
                            <a:srgbClr val="FFFF00"/>
                          </a:highlight>
                          <a:latin typeface="Nexa Bold" panose="00000800000000000000" pitchFamily="2" charset="0"/>
                        </a:rPr>
                        <a:t>Profi</a:t>
                      </a:r>
                      <a:endParaRPr lang="en-US" sz="90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22659435"/>
                  </a:ext>
                </a:extLst>
              </a:tr>
              <a:tr h="713132">
                <a:tc>
                  <a:txBody>
                    <a:bodyPr/>
                    <a:lstStyle/>
                    <a:p>
                      <a:r>
                        <a:rPr lang="en-US" sz="900" dirty="0">
                          <a:highlight>
                            <a:srgbClr val="FFFF00"/>
                          </a:highlight>
                          <a:latin typeface="Nexa Bold" panose="00000800000000000000" pitchFamily="2" charset="0"/>
                        </a:rPr>
                        <a:t>Penny</a:t>
                      </a:r>
                      <a:endParaRPr lang="en-CH" sz="900" dirty="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4957612"/>
                  </a:ext>
                </a:extLst>
              </a:tr>
            </a:tbl>
          </a:graphicData>
        </a:graphic>
      </p:graphicFrame>
      <p:graphicFrame>
        <p:nvGraphicFramePr>
          <p:cNvPr id="19" name="Chart 18">
            <a:extLst>
              <a:ext uri="{FF2B5EF4-FFF2-40B4-BE49-F238E27FC236}">
                <a16:creationId xmlns:a16="http://schemas.microsoft.com/office/drawing/2014/main" id="{9B1673E6-73E0-EF8C-82ED-CD3A03B96FB8}"/>
              </a:ext>
            </a:extLst>
          </p:cNvPr>
          <p:cNvGraphicFramePr/>
          <p:nvPr>
            <p:extLst>
              <p:ext uri="{D42A27DB-BD31-4B8C-83A1-F6EECF244321}">
                <p14:modId xmlns:p14="http://schemas.microsoft.com/office/powerpoint/2010/main" val="3203422091"/>
              </p:ext>
            </p:extLst>
          </p:nvPr>
        </p:nvGraphicFramePr>
        <p:xfrm>
          <a:off x="1347977" y="1366269"/>
          <a:ext cx="7300565" cy="70809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1" name="Chart 20">
            <a:extLst>
              <a:ext uri="{FF2B5EF4-FFF2-40B4-BE49-F238E27FC236}">
                <a16:creationId xmlns:a16="http://schemas.microsoft.com/office/drawing/2014/main" id="{BD2D4B5E-F49A-3634-5C61-7F1B97F6B924}"/>
              </a:ext>
            </a:extLst>
          </p:cNvPr>
          <p:cNvGraphicFramePr/>
          <p:nvPr/>
        </p:nvGraphicFramePr>
        <p:xfrm>
          <a:off x="1347977" y="2088079"/>
          <a:ext cx="7292024" cy="708095"/>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2" name="Chart 21">
            <a:extLst>
              <a:ext uri="{FF2B5EF4-FFF2-40B4-BE49-F238E27FC236}">
                <a16:creationId xmlns:a16="http://schemas.microsoft.com/office/drawing/2014/main" id="{F58FF1DC-468D-96E2-29C7-85AE66661781}"/>
              </a:ext>
            </a:extLst>
          </p:cNvPr>
          <p:cNvGraphicFramePr/>
          <p:nvPr/>
        </p:nvGraphicFramePr>
        <p:xfrm>
          <a:off x="1390519" y="2809891"/>
          <a:ext cx="7292024" cy="698288"/>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23" name="Chart 22">
            <a:extLst>
              <a:ext uri="{FF2B5EF4-FFF2-40B4-BE49-F238E27FC236}">
                <a16:creationId xmlns:a16="http://schemas.microsoft.com/office/drawing/2014/main" id="{0274E9D7-6F0F-48AA-0251-3FC84CB38733}"/>
              </a:ext>
            </a:extLst>
          </p:cNvPr>
          <p:cNvGraphicFramePr/>
          <p:nvPr>
            <p:extLst>
              <p:ext uri="{D42A27DB-BD31-4B8C-83A1-F6EECF244321}">
                <p14:modId xmlns:p14="http://schemas.microsoft.com/office/powerpoint/2010/main" val="3988648183"/>
              </p:ext>
            </p:extLst>
          </p:nvPr>
        </p:nvGraphicFramePr>
        <p:xfrm>
          <a:off x="1347976" y="3521894"/>
          <a:ext cx="7300566" cy="1266514"/>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9085089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222808FD-ACDC-CC7C-8644-923BBD07B29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222808FD-ACDC-CC7C-8644-923BBD07B29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20" name="Chart 19">
            <a:extLst>
              <a:ext uri="{FF2B5EF4-FFF2-40B4-BE49-F238E27FC236}">
                <a16:creationId xmlns:a16="http://schemas.microsoft.com/office/drawing/2014/main" id="{B1FE0159-4E62-4A93-B376-F25F0DD097D3}"/>
              </a:ext>
            </a:extLst>
          </p:cNvPr>
          <p:cNvGraphicFramePr/>
          <p:nvPr/>
        </p:nvGraphicFramePr>
        <p:xfrm>
          <a:off x="540000" y="1133639"/>
          <a:ext cx="8100000" cy="3509669"/>
        </p:xfrm>
        <a:graphic>
          <a:graphicData uri="http://schemas.openxmlformats.org/drawingml/2006/chart">
            <c:chart xmlns:c="http://schemas.openxmlformats.org/drawingml/2006/chart" xmlns:r="http://schemas.openxmlformats.org/officeDocument/2006/relationships" r:id="rId6"/>
          </a:graphicData>
        </a:graphic>
      </p:graphicFrame>
      <p:sp>
        <p:nvSpPr>
          <p:cNvPr id="18" name="Date Placeholder 17">
            <a:extLst>
              <a:ext uri="{FF2B5EF4-FFF2-40B4-BE49-F238E27FC236}">
                <a16:creationId xmlns:a16="http://schemas.microsoft.com/office/drawing/2014/main" id="{C1C06F40-5A22-69B8-A694-546E63E1BA0C}"/>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2D21337-F382-4FF4-BA40-ECEC8B4CA4A3}"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1" name="Footer Placeholder 20">
            <a:extLst>
              <a:ext uri="{FF2B5EF4-FFF2-40B4-BE49-F238E27FC236}">
                <a16:creationId xmlns:a16="http://schemas.microsoft.com/office/drawing/2014/main" id="{FBEB295B-B94A-FD99-99F9-D5E99E11858A}"/>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9" name="Slide Number Placeholder 18">
            <a:extLst>
              <a:ext uri="{FF2B5EF4-FFF2-40B4-BE49-F238E27FC236}">
                <a16:creationId xmlns:a16="http://schemas.microsoft.com/office/drawing/2014/main" id="{7E74166E-6986-24E0-FE60-F1092A45D18E}"/>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10" name="Text Placeholder 9">
            <a:extLst>
              <a:ext uri="{FF2B5EF4-FFF2-40B4-BE49-F238E27FC236}">
                <a16:creationId xmlns:a16="http://schemas.microsoft.com/office/drawing/2014/main" id="{234ADF96-6FB1-4D58-8B54-873D4F64F338}"/>
              </a:ext>
            </a:extLst>
          </p:cNvPr>
          <p:cNvSpPr>
            <a:spLocks noGrp="1"/>
          </p:cNvSpPr>
          <p:nvPr>
            <p:ph type="body" sz="quarter" idx="17"/>
          </p:nvPr>
        </p:nvSpPr>
        <p:spPr>
          <a:xfrm>
            <a:off x="0" y="4734106"/>
            <a:ext cx="4572000" cy="222878"/>
          </a:xfrm>
        </p:spPr>
        <p:txBody>
          <a:bodyPr/>
          <a:lstStyle/>
          <a:p>
            <a:r>
              <a:rPr lang="en-GB"/>
              <a:t>Data Source | Trade Panel | ending Apr 22</a:t>
            </a:r>
          </a:p>
        </p:txBody>
      </p:sp>
      <p:sp>
        <p:nvSpPr>
          <p:cNvPr id="2" name="Content Placeholder 1">
            <a:extLst>
              <a:ext uri="{FF2B5EF4-FFF2-40B4-BE49-F238E27FC236}">
                <a16:creationId xmlns:a16="http://schemas.microsoft.com/office/drawing/2014/main" id="{130C05D2-CF04-4DA4-82C4-9E265F94F028}"/>
              </a:ext>
            </a:extLst>
          </p:cNvPr>
          <p:cNvSpPr>
            <a:spLocks noGrp="1"/>
          </p:cNvSpPr>
          <p:nvPr>
            <p:ph type="body" sz="quarter" idx="18"/>
          </p:nvPr>
        </p:nvSpPr>
        <p:spPr>
          <a:xfrm>
            <a:off x="503238" y="774000"/>
            <a:ext cx="8136762" cy="360000"/>
          </a:xfrm>
        </p:spPr>
        <p:txBody>
          <a:bodyPr/>
          <a:lstStyle/>
          <a:p>
            <a:r>
              <a:rPr lang="en-US"/>
              <a:t>Value Uplift by brand | Category/Sector | P12M</a:t>
            </a:r>
          </a:p>
        </p:txBody>
      </p:sp>
      <p:sp>
        <p:nvSpPr>
          <p:cNvPr id="17" name="Title 16">
            <a:extLst>
              <a:ext uri="{FF2B5EF4-FFF2-40B4-BE49-F238E27FC236}">
                <a16:creationId xmlns:a16="http://schemas.microsoft.com/office/drawing/2014/main" id="{4F16EBB1-4C79-4A6F-8868-FA7F8505744B}"/>
              </a:ext>
            </a:extLst>
          </p:cNvPr>
          <p:cNvSpPr>
            <a:spLocks noGrp="1"/>
          </p:cNvSpPr>
          <p:nvPr>
            <p:ph type="title"/>
          </p:nvPr>
        </p:nvSpPr>
        <p:spPr>
          <a:xfrm>
            <a:off x="504000" y="-1"/>
            <a:ext cx="8136000" cy="771525"/>
          </a:xfrm>
        </p:spPr>
        <p:txBody>
          <a:bodyPr vert="horz"/>
          <a:lstStyle/>
          <a:p>
            <a:r>
              <a:rPr lang="en-US" dirty="0">
                <a:highlight>
                  <a:srgbClr val="FFFF00"/>
                </a:highlight>
              </a:rPr>
              <a:t>Value uplift by retailer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4" name="TextBox 13">
            <a:extLst>
              <a:ext uri="{FF2B5EF4-FFF2-40B4-BE49-F238E27FC236}">
                <a16:creationId xmlns:a16="http://schemas.microsoft.com/office/drawing/2014/main" id="{B849EA39-EC71-4F3C-B69E-269019A3BE69}"/>
              </a:ext>
            </a:extLst>
          </p:cNvPr>
          <p:cNvSpPr txBox="1"/>
          <p:nvPr/>
        </p:nvSpPr>
        <p:spPr>
          <a:xfrm>
            <a:off x="545544" y="1141772"/>
            <a:ext cx="2019790" cy="24622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Bubble size by Promo sales</a:t>
            </a:r>
            <a:endParaRPr kumimoji="0" lang="en-CH"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endParaRPr>
          </a:p>
        </p:txBody>
      </p:sp>
      <p:graphicFrame>
        <p:nvGraphicFramePr>
          <p:cNvPr id="5" name="Table 5">
            <a:extLst>
              <a:ext uri="{FF2B5EF4-FFF2-40B4-BE49-F238E27FC236}">
                <a16:creationId xmlns:a16="http://schemas.microsoft.com/office/drawing/2014/main" id="{5519C780-DF17-D565-38D2-E69BBF4F5C8A}"/>
              </a:ext>
            </a:extLst>
          </p:cNvPr>
          <p:cNvGraphicFramePr>
            <a:graphicFrameLocks noGrp="1"/>
          </p:cNvGraphicFramePr>
          <p:nvPr/>
        </p:nvGraphicFramePr>
        <p:xfrm>
          <a:off x="1525055" y="4454629"/>
          <a:ext cx="6815298" cy="434340"/>
        </p:xfrm>
        <a:graphic>
          <a:graphicData uri="http://schemas.openxmlformats.org/drawingml/2006/table">
            <a:tbl>
              <a:tblPr firstRow="1" bandRow="1">
                <a:tableStyleId>{5C22544A-7EE6-4342-B048-85BDC9FD1C3A}</a:tableStyleId>
              </a:tblPr>
              <a:tblGrid>
                <a:gridCol w="486807">
                  <a:extLst>
                    <a:ext uri="{9D8B030D-6E8A-4147-A177-3AD203B41FA5}">
                      <a16:colId xmlns:a16="http://schemas.microsoft.com/office/drawing/2014/main" val="3095964032"/>
                    </a:ext>
                  </a:extLst>
                </a:gridCol>
                <a:gridCol w="486807">
                  <a:extLst>
                    <a:ext uri="{9D8B030D-6E8A-4147-A177-3AD203B41FA5}">
                      <a16:colId xmlns:a16="http://schemas.microsoft.com/office/drawing/2014/main" val="1492968221"/>
                    </a:ext>
                  </a:extLst>
                </a:gridCol>
                <a:gridCol w="486807">
                  <a:extLst>
                    <a:ext uri="{9D8B030D-6E8A-4147-A177-3AD203B41FA5}">
                      <a16:colId xmlns:a16="http://schemas.microsoft.com/office/drawing/2014/main" val="1388089212"/>
                    </a:ext>
                  </a:extLst>
                </a:gridCol>
                <a:gridCol w="486807">
                  <a:extLst>
                    <a:ext uri="{9D8B030D-6E8A-4147-A177-3AD203B41FA5}">
                      <a16:colId xmlns:a16="http://schemas.microsoft.com/office/drawing/2014/main" val="653198056"/>
                    </a:ext>
                  </a:extLst>
                </a:gridCol>
                <a:gridCol w="486807">
                  <a:extLst>
                    <a:ext uri="{9D8B030D-6E8A-4147-A177-3AD203B41FA5}">
                      <a16:colId xmlns:a16="http://schemas.microsoft.com/office/drawing/2014/main" val="2597698693"/>
                    </a:ext>
                  </a:extLst>
                </a:gridCol>
                <a:gridCol w="486807">
                  <a:extLst>
                    <a:ext uri="{9D8B030D-6E8A-4147-A177-3AD203B41FA5}">
                      <a16:colId xmlns:a16="http://schemas.microsoft.com/office/drawing/2014/main" val="3679993237"/>
                    </a:ext>
                  </a:extLst>
                </a:gridCol>
                <a:gridCol w="486807">
                  <a:extLst>
                    <a:ext uri="{9D8B030D-6E8A-4147-A177-3AD203B41FA5}">
                      <a16:colId xmlns:a16="http://schemas.microsoft.com/office/drawing/2014/main" val="3222933510"/>
                    </a:ext>
                  </a:extLst>
                </a:gridCol>
                <a:gridCol w="486807">
                  <a:extLst>
                    <a:ext uri="{9D8B030D-6E8A-4147-A177-3AD203B41FA5}">
                      <a16:colId xmlns:a16="http://schemas.microsoft.com/office/drawing/2014/main" val="2120373476"/>
                    </a:ext>
                  </a:extLst>
                </a:gridCol>
                <a:gridCol w="486807">
                  <a:extLst>
                    <a:ext uri="{9D8B030D-6E8A-4147-A177-3AD203B41FA5}">
                      <a16:colId xmlns:a16="http://schemas.microsoft.com/office/drawing/2014/main" val="2675510286"/>
                    </a:ext>
                  </a:extLst>
                </a:gridCol>
                <a:gridCol w="486807">
                  <a:extLst>
                    <a:ext uri="{9D8B030D-6E8A-4147-A177-3AD203B41FA5}">
                      <a16:colId xmlns:a16="http://schemas.microsoft.com/office/drawing/2014/main" val="3000440053"/>
                    </a:ext>
                  </a:extLst>
                </a:gridCol>
                <a:gridCol w="486807">
                  <a:extLst>
                    <a:ext uri="{9D8B030D-6E8A-4147-A177-3AD203B41FA5}">
                      <a16:colId xmlns:a16="http://schemas.microsoft.com/office/drawing/2014/main" val="3214997608"/>
                    </a:ext>
                  </a:extLst>
                </a:gridCol>
                <a:gridCol w="486807">
                  <a:extLst>
                    <a:ext uri="{9D8B030D-6E8A-4147-A177-3AD203B41FA5}">
                      <a16:colId xmlns:a16="http://schemas.microsoft.com/office/drawing/2014/main" val="4271382557"/>
                    </a:ext>
                  </a:extLst>
                </a:gridCol>
                <a:gridCol w="486807">
                  <a:extLst>
                    <a:ext uri="{9D8B030D-6E8A-4147-A177-3AD203B41FA5}">
                      <a16:colId xmlns:a16="http://schemas.microsoft.com/office/drawing/2014/main" val="826016986"/>
                    </a:ext>
                  </a:extLst>
                </a:gridCol>
                <a:gridCol w="486807">
                  <a:extLst>
                    <a:ext uri="{9D8B030D-6E8A-4147-A177-3AD203B41FA5}">
                      <a16:colId xmlns:a16="http://schemas.microsoft.com/office/drawing/2014/main" val="2337481629"/>
                    </a:ext>
                  </a:extLst>
                </a:gridCol>
              </a:tblGrid>
              <a:tr h="278130">
                <a:tc>
                  <a:txBody>
                    <a:bodyPr/>
                    <a:lstStyle/>
                    <a:p>
                      <a:pPr algn="ctr"/>
                      <a:r>
                        <a:rPr lang="en-US" sz="800" b="0" dirty="0">
                          <a:solidFill>
                            <a:schemeClr val="tx2"/>
                          </a:solidFill>
                          <a:latin typeface="Nexa Bold" panose="00000800000000000000" pitchFamily="2" charset="0"/>
                        </a:rPr>
                        <a:t>Carrefour</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r>
                        <a:rPr lang="en-US" sz="800" b="0" dirty="0">
                          <a:solidFill>
                            <a:schemeClr val="tx2"/>
                          </a:solidFill>
                          <a:latin typeface="Nexa Bold" panose="00000800000000000000" pitchFamily="2" charset="0"/>
                        </a:rPr>
                        <a:t>Coop </a:t>
                      </a:r>
                      <a:r>
                        <a:rPr lang="en-US" sz="800" b="0" dirty="0" err="1">
                          <a:solidFill>
                            <a:schemeClr val="tx2"/>
                          </a:solidFill>
                          <a:latin typeface="Nexa Bold" panose="00000800000000000000" pitchFamily="2" charset="0"/>
                        </a:rPr>
                        <a:t>Alleanza</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r>
                        <a:rPr lang="en-US" sz="800" b="0" dirty="0" err="1">
                          <a:solidFill>
                            <a:schemeClr val="tx2"/>
                          </a:solidFill>
                          <a:latin typeface="Nexa Bold" panose="00000800000000000000" pitchFamily="2" charset="0"/>
                        </a:rPr>
                        <a:t>Esselunga</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r>
                        <a:rPr lang="en-US" sz="800" b="0" dirty="0">
                          <a:solidFill>
                            <a:schemeClr val="tx2"/>
                          </a:solidFill>
                          <a:latin typeface="Nexa Bold" panose="00000800000000000000" pitchFamily="2" charset="0"/>
                        </a:rPr>
                        <a:t>Gruppo Pam</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extLst>
                  <a:ext uri="{0D108BD9-81ED-4DB2-BD59-A6C34878D82A}">
                    <a16:rowId xmlns:a16="http://schemas.microsoft.com/office/drawing/2014/main" val="43767022"/>
                  </a:ext>
                </a:extLst>
              </a:tr>
            </a:tbl>
          </a:graphicData>
        </a:graphic>
      </p:graphicFrame>
    </p:spTree>
    <p:extLst>
      <p:ext uri="{BB962C8B-B14F-4D97-AF65-F5344CB8AC3E}">
        <p14:creationId xmlns:p14="http://schemas.microsoft.com/office/powerpoint/2010/main" val="29777549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1/27/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rPr lang="en-US"/>
              <a:t>DATA SOURCE: Trade Panel/Retailer Data | Ending Dec 2022</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r>
              <a:rPr lang="en-US"/>
              <a:t>Volume Uplift vs discount depth | By Product | Category | Coop </a:t>
            </a:r>
            <a:r>
              <a:rPr lang="en-US" err="1"/>
              <a:t>Alleanza</a:t>
            </a:r>
            <a:r>
              <a:rPr lang="en-US"/>
              <a:t> | P12M</a:t>
            </a:r>
            <a:endParaRPr lang="en-CH"/>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642153818"/>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259930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1/27/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endParaRPr lang="en-US"/>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dirty="0"/>
              <a:t>DATA SOURCE: Trade Panel/Retailer Data | Ending Dec 2022</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Value Uplift vs Promo Efficiency | By Product | Category/Sector | Retailer | P12M</a:t>
            </a:r>
          </a:p>
          <a:p>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50"/>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72141">
                <a:tc>
                  <a:txBody>
                    <a:bodyPr/>
                    <a:lstStyle/>
                    <a:p>
                      <a:pPr algn="ctr" fontAlgn="b"/>
                      <a:r>
                        <a:rPr lang="en-CH" sz="400" b="0" i="0" u="none" strike="noStrike">
                          <a:solidFill>
                            <a:schemeClr val="tx2"/>
                          </a:solidFill>
                          <a:effectLst/>
                          <a:latin typeface="+mn-lt"/>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68475315"/>
                  </a:ext>
                </a:extLst>
              </a:tr>
              <a:tr h="72141">
                <a:tc>
                  <a:txBody>
                    <a:bodyPr/>
                    <a:lstStyle/>
                    <a:p>
                      <a:pPr algn="ctr" fontAlgn="b"/>
                      <a:r>
                        <a:rPr lang="en-CH" sz="400" b="0" i="0" u="none" strike="noStrike">
                          <a:solidFill>
                            <a:schemeClr val="tx2"/>
                          </a:solidFill>
                          <a:effectLst/>
                          <a:latin typeface="+mn-lt"/>
                        </a:rPr>
                        <a:t>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Alpen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74345675"/>
                  </a:ext>
                </a:extLst>
              </a:tr>
              <a:tr h="72141">
                <a:tc>
                  <a:txBody>
                    <a:bodyPr/>
                    <a:lstStyle/>
                    <a:p>
                      <a:pPr algn="ctr" fontAlgn="b"/>
                      <a:r>
                        <a:rPr lang="en-CH" sz="400" b="0" i="0" u="none" strike="noStrike">
                          <a:solidFill>
                            <a:schemeClr val="tx2"/>
                          </a:solidFill>
                          <a:effectLst/>
                          <a:latin typeface="+mn-lt"/>
                        </a:rPr>
                        <a:t>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Landliebe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91017686"/>
                  </a:ext>
                </a:extLst>
              </a:tr>
              <a:tr h="72141">
                <a:tc>
                  <a:txBody>
                    <a:bodyPr/>
                    <a:lstStyle/>
                    <a:p>
                      <a:pPr algn="ctr" fontAlgn="b"/>
                      <a:r>
                        <a:rPr lang="en-CH" sz="400" b="0" i="0" u="none" strike="noStrike">
                          <a:solidFill>
                            <a:schemeClr val="tx2"/>
                          </a:solidFill>
                          <a:effectLst/>
                          <a:latin typeface="+mn-lt"/>
                        </a:rPr>
                        <a:t>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Weihenstephan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53934404"/>
                  </a:ext>
                </a:extLst>
              </a:tr>
              <a:tr h="72141">
                <a:tc>
                  <a:txBody>
                    <a:bodyPr/>
                    <a:lstStyle/>
                    <a:p>
                      <a:pPr algn="ctr" fontAlgn="b"/>
                      <a:r>
                        <a:rPr lang="en-CH" sz="400" b="0" i="0" u="none" strike="noStrike">
                          <a:solidFill>
                            <a:schemeClr val="tx2"/>
                          </a:solidFill>
                          <a:effectLst/>
                          <a:latin typeface="+mn-lt"/>
                        </a:rPr>
                        <a:t>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83251638"/>
                  </a:ext>
                </a:extLst>
              </a:tr>
              <a:tr h="72141">
                <a:tc>
                  <a:txBody>
                    <a:bodyPr/>
                    <a:lstStyle/>
                    <a:p>
                      <a:pPr algn="ctr" fontAlgn="b"/>
                      <a:r>
                        <a:rPr lang="en-CH" sz="400" b="0" i="0" u="none" strike="noStrike">
                          <a:solidFill>
                            <a:schemeClr val="tx2"/>
                          </a:solidFill>
                          <a:effectLst/>
                          <a:latin typeface="+mn-lt"/>
                        </a:rPr>
                        <a:t>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Frau Antje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61931653"/>
                  </a:ext>
                </a:extLst>
              </a:tr>
              <a:tr h="72141">
                <a:tc>
                  <a:txBody>
                    <a:bodyPr/>
                    <a:lstStyle/>
                    <a:p>
                      <a:pPr algn="ctr" fontAlgn="b"/>
                      <a:r>
                        <a:rPr lang="en-CH" sz="400" b="0" i="0" u="none" strike="noStrike">
                          <a:solidFill>
                            <a:schemeClr val="tx2"/>
                          </a:solidFill>
                          <a:effectLst/>
                          <a:latin typeface="+mn-lt"/>
                        </a:rPr>
                        <a:t>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Becher 20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29411828"/>
                  </a:ext>
                </a:extLst>
              </a:tr>
              <a:tr h="72141">
                <a:tc>
                  <a:txBody>
                    <a:bodyPr/>
                    <a:lstStyle/>
                    <a:p>
                      <a:pPr algn="ctr" fontAlgn="b"/>
                      <a:r>
                        <a:rPr lang="en-CH" sz="400" b="0" i="0" u="none" strike="noStrike">
                          <a:solidFill>
                            <a:schemeClr val="tx2"/>
                          </a:solidFill>
                          <a:effectLst/>
                          <a:latin typeface="+mn-lt"/>
                        </a:rPr>
                        <a:t>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Falts 5 Ct 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89762943"/>
                  </a:ext>
                </a:extLst>
              </a:tr>
              <a:tr h="72141">
                <a:tc>
                  <a:txBody>
                    <a:bodyPr/>
                    <a:lstStyle/>
                    <a:p>
                      <a:pPr algn="ctr" fontAlgn="b"/>
                      <a:r>
                        <a:rPr lang="en-CH" sz="400" b="0" i="0" u="none" strike="noStrike">
                          <a:solidFill>
                            <a:schemeClr val="tx2"/>
                          </a:solidFill>
                          <a:effectLst/>
                          <a:latin typeface="+mn-lt"/>
                        </a:rPr>
                        <a:t>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Landliebe Bech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63467390"/>
                  </a:ext>
                </a:extLst>
              </a:tr>
              <a:tr h="72141">
                <a:tc>
                  <a:txBody>
                    <a:bodyPr/>
                    <a:lstStyle/>
                    <a:p>
                      <a:pPr algn="ctr" fontAlgn="b"/>
                      <a:r>
                        <a:rPr lang="en-CH" sz="400" b="0" i="0" u="none" strike="noStrike">
                          <a:solidFill>
                            <a:schemeClr val="tx2"/>
                          </a:solidFill>
                          <a:effectLst/>
                          <a:latin typeface="+mn-lt"/>
                        </a:rPr>
                        <a:t>1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8294199"/>
                  </a:ext>
                </a:extLst>
              </a:tr>
              <a:tr h="72141">
                <a:tc>
                  <a:txBody>
                    <a:bodyPr/>
                    <a:lstStyle/>
                    <a:p>
                      <a:pPr algn="ctr" fontAlgn="b"/>
                      <a:r>
                        <a:rPr lang="en-CH" sz="400" b="0" i="0" u="none" strike="noStrike">
                          <a:solidFill>
                            <a:schemeClr val="tx2"/>
                          </a:solidFill>
                          <a:effectLst/>
                          <a:latin typeface="+mn-lt"/>
                        </a:rPr>
                        <a:t>1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Rolle 125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12783936"/>
                  </a:ext>
                </a:extLst>
              </a:tr>
              <a:tr h="72141">
                <a:tc>
                  <a:txBody>
                    <a:bodyPr/>
                    <a:lstStyle/>
                    <a:p>
                      <a:pPr algn="ctr" fontAlgn="b"/>
                      <a:r>
                        <a:rPr lang="en-CH" sz="400" b="0" i="0" u="none" strike="noStrike">
                          <a:solidFill>
                            <a:schemeClr val="tx2"/>
                          </a:solidFill>
                          <a:effectLst/>
                          <a:latin typeface="+mn-lt"/>
                        </a:rPr>
                        <a:t>1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Salted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7362147"/>
                  </a:ext>
                </a:extLst>
              </a:tr>
              <a:tr h="72141">
                <a:tc>
                  <a:txBody>
                    <a:bodyPr/>
                    <a:lstStyle/>
                    <a:p>
                      <a:pPr algn="ctr" fontAlgn="b"/>
                      <a:r>
                        <a:rPr lang="en-CH" sz="400" b="0" i="0" u="none" strike="noStrike">
                          <a:solidFill>
                            <a:schemeClr val="tx2"/>
                          </a:solidFill>
                          <a:effectLst/>
                          <a:latin typeface="+mn-lt"/>
                        </a:rPr>
                        <a:t>1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ivate Label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91460699"/>
                  </a:ext>
                </a:extLst>
              </a:tr>
              <a:tr h="72141">
                <a:tc>
                  <a:txBody>
                    <a:bodyPr/>
                    <a:lstStyle/>
                    <a:p>
                      <a:pPr algn="ctr" fontAlgn="b"/>
                      <a:r>
                        <a:rPr lang="en-CH" sz="400" b="0" i="0" u="none" strike="noStrike">
                          <a:solidFill>
                            <a:schemeClr val="tx2"/>
                          </a:solidFill>
                          <a:effectLst/>
                          <a:latin typeface="+mn-lt"/>
                        </a:rPr>
                        <a:t>1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Violife Vioblock Vegan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40093880"/>
                  </a:ext>
                </a:extLst>
              </a:tr>
              <a:tr h="72141">
                <a:tc>
                  <a:txBody>
                    <a:bodyPr/>
                    <a:lstStyle/>
                    <a:p>
                      <a:pPr algn="ctr" fontAlgn="b"/>
                      <a:r>
                        <a:rPr lang="en-CH" sz="400" b="0" i="0" u="none" strike="noStrike">
                          <a:solidFill>
                            <a:schemeClr val="tx2"/>
                          </a:solidFill>
                          <a:effectLst/>
                          <a:latin typeface="+mn-lt"/>
                        </a:rPr>
                        <a:t>1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Allgaeuer Hof Milch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50994264"/>
                  </a:ext>
                </a:extLst>
              </a:tr>
              <a:tr h="72141">
                <a:tc>
                  <a:txBody>
                    <a:bodyPr/>
                    <a:lstStyle/>
                    <a:p>
                      <a:pPr algn="ctr" fontAlgn="b"/>
                      <a:r>
                        <a:rPr lang="en-CH" sz="400" b="0" i="0" u="none" strike="noStrike">
                          <a:solidFill>
                            <a:schemeClr val="tx2"/>
                          </a:solidFill>
                          <a:effectLst/>
                          <a:latin typeface="+mn-lt"/>
                        </a:rPr>
                        <a:t>1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Kraeuter-Tube Vegan 8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75426428"/>
                  </a:ext>
                </a:extLst>
              </a:tr>
              <a:tr h="72141">
                <a:tc>
                  <a:txBody>
                    <a:bodyPr/>
                    <a:lstStyle/>
                    <a:p>
                      <a:pPr algn="ctr" fontAlgn="b"/>
                      <a:r>
                        <a:rPr lang="en-CH" sz="400" b="0" i="0" u="none" strike="noStrike">
                          <a:solidFill>
                            <a:schemeClr val="tx2"/>
                          </a:solidFill>
                          <a:effectLst/>
                          <a:latin typeface="+mn-lt"/>
                        </a:rPr>
                        <a:t>1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Allgaeuer Hof Milch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97241745"/>
                  </a:ext>
                </a:extLst>
              </a:tr>
              <a:tr h="72141">
                <a:tc>
                  <a:txBody>
                    <a:bodyPr/>
                    <a:lstStyle/>
                    <a:p>
                      <a:pPr algn="ctr" fontAlgn="b"/>
                      <a:r>
                        <a:rPr lang="en-CH" sz="400" b="0" i="0" u="none" strike="noStrike">
                          <a:solidFill>
                            <a:schemeClr val="tx2"/>
                          </a:solidFill>
                          <a:effectLst/>
                          <a:latin typeface="+mn-lt"/>
                        </a:rPr>
                        <a:t>1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Becher 1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13182630"/>
                  </a:ext>
                </a:extLst>
              </a:tr>
              <a:tr h="72141">
                <a:tc>
                  <a:txBody>
                    <a:bodyPr/>
                    <a:lstStyle/>
                    <a:p>
                      <a:pPr algn="ctr" fontAlgn="b"/>
                      <a:r>
                        <a:rPr lang="en-CH" sz="400" b="0" i="0" u="none" strike="noStrike">
                          <a:solidFill>
                            <a:schemeClr val="tx2"/>
                          </a:solidFill>
                          <a:effectLst/>
                          <a:latin typeface="+mn-lt"/>
                        </a:rPr>
                        <a:t>1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Kraeuter Falts 5 Ct 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35205234"/>
                  </a:ext>
                </a:extLst>
              </a:tr>
              <a:tr h="72141">
                <a:tc>
                  <a:txBody>
                    <a:bodyPr/>
                    <a:lstStyle/>
                    <a:p>
                      <a:pPr algn="ctr" fontAlgn="b"/>
                      <a:r>
                        <a:rPr lang="en-CH" sz="400" b="0" i="0" u="none" strike="noStrike">
                          <a:solidFill>
                            <a:schemeClr val="tx2"/>
                          </a:solidFill>
                          <a:effectLst/>
                          <a:latin typeface="+mn-lt"/>
                        </a:rPr>
                        <a:t>2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Berchtesgadener Land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04871848"/>
                  </a:ext>
                </a:extLst>
              </a:tr>
              <a:tr h="72141">
                <a:tc>
                  <a:txBody>
                    <a:bodyPr/>
                    <a:lstStyle/>
                    <a:p>
                      <a:pPr algn="ctr" fontAlgn="b"/>
                      <a:r>
                        <a:rPr lang="en-CH" sz="400" b="0" i="0" u="none" strike="noStrike">
                          <a:solidFill>
                            <a:schemeClr val="tx2"/>
                          </a:solidFill>
                          <a:effectLst/>
                          <a:latin typeface="+mn-lt"/>
                        </a:rPr>
                        <a:t>2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Die Vegane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49180832"/>
                  </a:ext>
                </a:extLst>
              </a:tr>
              <a:tr h="72141">
                <a:tc>
                  <a:txBody>
                    <a:bodyPr/>
                    <a:lstStyle/>
                    <a:p>
                      <a:pPr algn="ctr" fontAlgn="b"/>
                      <a:r>
                        <a:rPr lang="en-CH" sz="400" b="0" i="0" u="none" strike="noStrike">
                          <a:solidFill>
                            <a:schemeClr val="tx2"/>
                          </a:solidFill>
                          <a:effectLst/>
                          <a:latin typeface="+mn-lt"/>
                        </a:rPr>
                        <a:t>2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ivate Label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17787889"/>
                  </a:ext>
                </a:extLst>
              </a:tr>
              <a:tr h="72141">
                <a:tc>
                  <a:txBody>
                    <a:bodyPr/>
                    <a:lstStyle/>
                    <a:p>
                      <a:pPr algn="ctr" fontAlgn="b"/>
                      <a:r>
                        <a:rPr lang="en-CH" sz="400" b="0" i="0" u="none" strike="noStrike">
                          <a:solidFill>
                            <a:schemeClr val="tx2"/>
                          </a:solidFill>
                          <a:effectLst/>
                          <a:latin typeface="+mn-lt"/>
                        </a:rPr>
                        <a:t>2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ivate Label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9181467"/>
                  </a:ext>
                </a:extLst>
              </a:tr>
              <a:tr h="72141">
                <a:tc>
                  <a:txBody>
                    <a:bodyPr/>
                    <a:lstStyle/>
                    <a:p>
                      <a:pPr algn="ctr" fontAlgn="b"/>
                      <a:r>
                        <a:rPr lang="en-CH" sz="400" b="0" i="0" u="none" strike="noStrike">
                          <a:solidFill>
                            <a:schemeClr val="tx2"/>
                          </a:solidFill>
                          <a:effectLst/>
                          <a:latin typeface="+mn-lt"/>
                        </a:rPr>
                        <a:t>2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esident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49409313"/>
                  </a:ext>
                </a:extLst>
              </a:tr>
              <a:tr h="72141">
                <a:tc>
                  <a:txBody>
                    <a:bodyPr/>
                    <a:lstStyle/>
                    <a:p>
                      <a:pPr algn="ctr" fontAlgn="b"/>
                      <a:r>
                        <a:rPr lang="en-CH" sz="400" b="0" i="0" u="none" strike="noStrike">
                          <a:solidFill>
                            <a:schemeClr val="tx2"/>
                          </a:solidFill>
                          <a:effectLst/>
                          <a:latin typeface="+mn-lt"/>
                        </a:rPr>
                        <a:t>2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Andechser Natur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0138508"/>
                  </a:ext>
                </a:extLst>
              </a:tr>
              <a:tr h="72141">
                <a:tc>
                  <a:txBody>
                    <a:bodyPr/>
                    <a:lstStyle/>
                    <a:p>
                      <a:pPr algn="ctr" fontAlgn="b"/>
                      <a:r>
                        <a:rPr lang="en-CH" sz="400" b="0" i="0" u="none" strike="noStrike">
                          <a:solidFill>
                            <a:schemeClr val="tx2"/>
                          </a:solidFill>
                          <a:effectLst/>
                          <a:latin typeface="+mn-lt"/>
                        </a:rPr>
                        <a:t>2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Echt Franken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62685953"/>
                  </a:ext>
                </a:extLst>
              </a:tr>
              <a:tr h="72141">
                <a:tc>
                  <a:txBody>
                    <a:bodyPr/>
                    <a:lstStyle/>
                    <a:p>
                      <a:pPr algn="ctr" fontAlgn="b"/>
                      <a:r>
                        <a:rPr lang="en-CH" sz="400" b="0" i="0" u="none" strike="noStrike">
                          <a:solidFill>
                            <a:schemeClr val="tx2"/>
                          </a:solidFill>
                          <a:effectLst/>
                          <a:latin typeface="+mn-lt"/>
                        </a:rPr>
                        <a:t>2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nb-NO" sz="400" b="0" i="0" u="none" strike="noStrike">
                          <a:solidFill>
                            <a:schemeClr val="tx2"/>
                          </a:solidFill>
                          <a:effectLst/>
                          <a:latin typeface="+mn-lt"/>
                        </a:rPr>
                        <a:t>Private Label Pilz Glas 10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84834823"/>
                  </a:ext>
                </a:extLst>
              </a:tr>
              <a:tr h="72141">
                <a:tc>
                  <a:txBody>
                    <a:bodyPr/>
                    <a:lstStyle/>
                    <a:p>
                      <a:pPr algn="ctr" fontAlgn="b"/>
                      <a:r>
                        <a:rPr lang="en-CH" sz="400" b="0" i="0" u="none" strike="noStrike">
                          <a:solidFill>
                            <a:schemeClr val="tx2"/>
                          </a:solidFill>
                          <a:effectLst/>
                          <a:latin typeface="+mn-lt"/>
                        </a:rPr>
                        <a:t>2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Kerrygold Original Kraeuter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2592600"/>
                  </a:ext>
                </a:extLst>
              </a:tr>
              <a:tr h="72141">
                <a:tc>
                  <a:txBody>
                    <a:bodyPr/>
                    <a:lstStyle/>
                    <a:p>
                      <a:pPr algn="ctr" fontAlgn="b"/>
                      <a:r>
                        <a:rPr lang="en-CH" sz="400" b="0" i="0" u="none" strike="noStrike">
                          <a:solidFill>
                            <a:schemeClr val="tx2"/>
                          </a:solidFill>
                          <a:effectLst/>
                          <a:latin typeface="+mn-lt"/>
                        </a:rPr>
                        <a:t>2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Berchtesgadener Land Bio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4432554"/>
                  </a:ext>
                </a:extLst>
              </a:tr>
              <a:tr h="72141">
                <a:tc>
                  <a:txBody>
                    <a:bodyPr/>
                    <a:lstStyle/>
                    <a:p>
                      <a:pPr algn="ctr" fontAlgn="b"/>
                      <a:r>
                        <a:rPr lang="en-CH" sz="400" b="0" i="0" u="none" strike="noStrike">
                          <a:solidFill>
                            <a:schemeClr val="tx2"/>
                          </a:solidFill>
                          <a:effectLst/>
                          <a:latin typeface="+mn-lt"/>
                        </a:rPr>
                        <a:t>3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Hansano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15818235"/>
                  </a:ext>
                </a:extLst>
              </a:tr>
              <a:tr h="72141">
                <a:tc>
                  <a:txBody>
                    <a:bodyPr/>
                    <a:lstStyle/>
                    <a:p>
                      <a:pPr algn="ctr" fontAlgn="b"/>
                      <a:r>
                        <a:rPr lang="en-CH" sz="400" b="0" i="0" u="none" strike="noStrike">
                          <a:solidFill>
                            <a:schemeClr val="tx2"/>
                          </a:solidFill>
                          <a:effectLst/>
                          <a:latin typeface="+mn-lt"/>
                        </a:rPr>
                        <a:t>3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Meggle Knoblauch / Zwiebel Rolle 125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14338691"/>
                  </a:ext>
                </a:extLst>
              </a:tr>
              <a:tr h="72141">
                <a:tc>
                  <a:txBody>
                    <a:bodyPr/>
                    <a:lstStyle/>
                    <a:p>
                      <a:pPr algn="ctr" fontAlgn="b"/>
                      <a:r>
                        <a:rPr lang="en-CH" sz="400" b="0" i="0" u="none" strike="noStrike">
                          <a:solidFill>
                            <a:schemeClr val="tx2"/>
                          </a:solidFill>
                          <a:effectLst/>
                          <a:latin typeface="+mn-lt"/>
                        </a:rPr>
                        <a:t>3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Rolle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59559883"/>
                  </a:ext>
                </a:extLst>
              </a:tr>
              <a:tr h="72141">
                <a:tc>
                  <a:txBody>
                    <a:bodyPr/>
                    <a:lstStyle/>
                    <a:p>
                      <a:pPr algn="ctr" fontAlgn="b"/>
                      <a:r>
                        <a:rPr lang="en-CH" sz="400" b="0" i="0" u="none" strike="noStrike">
                          <a:solidFill>
                            <a:schemeClr val="tx2"/>
                          </a:solidFill>
                          <a:effectLst/>
                          <a:latin typeface="+mn-lt"/>
                        </a:rPr>
                        <a:t>3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46527690"/>
                  </a:ext>
                </a:extLst>
              </a:tr>
              <a:tr h="72141">
                <a:tc>
                  <a:txBody>
                    <a:bodyPr/>
                    <a:lstStyle/>
                    <a:p>
                      <a:pPr algn="ctr" fontAlgn="b"/>
                      <a:r>
                        <a:rPr lang="en-CH" sz="400" b="0" i="0" u="none" strike="noStrike">
                          <a:solidFill>
                            <a:schemeClr val="tx2"/>
                          </a:solidFill>
                          <a:effectLst/>
                          <a:latin typeface="+mn-lt"/>
                        </a:rPr>
                        <a:t>3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Glaeserne Molkerei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43181845"/>
                  </a:ext>
                </a:extLst>
              </a:tr>
              <a:tr h="72141">
                <a:tc>
                  <a:txBody>
                    <a:bodyPr/>
                    <a:lstStyle/>
                    <a:p>
                      <a:pPr algn="ctr" fontAlgn="b"/>
                      <a:r>
                        <a:rPr lang="en-CH" sz="400" b="0" i="0" u="none" strike="noStrike">
                          <a:solidFill>
                            <a:schemeClr val="tx2"/>
                          </a:solidFill>
                          <a:effectLst/>
                          <a:latin typeface="+mn-lt"/>
                        </a:rPr>
                        <a:t>3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chwarzwaldmilch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56447234"/>
                  </a:ext>
                </a:extLst>
              </a:tr>
              <a:tr h="72141">
                <a:tc>
                  <a:txBody>
                    <a:bodyPr/>
                    <a:lstStyle/>
                    <a:p>
                      <a:pPr algn="ctr" fontAlgn="b"/>
                      <a:r>
                        <a:rPr lang="en-CH" sz="400" b="0" i="0" u="none" strike="noStrike">
                          <a:solidFill>
                            <a:schemeClr val="tx2"/>
                          </a:solidFill>
                          <a:effectLst/>
                          <a:latin typeface="+mn-lt"/>
                        </a:rPr>
                        <a:t>3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Vogtlandweide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27023"/>
                  </a:ext>
                </a:extLst>
              </a:tr>
              <a:tr h="72141">
                <a:tc>
                  <a:txBody>
                    <a:bodyPr/>
                    <a:lstStyle/>
                    <a:p>
                      <a:pPr algn="ctr" fontAlgn="b"/>
                      <a:r>
                        <a:rPr lang="en-CH" sz="400" b="0" i="0" u="none" strike="noStrike">
                          <a:solidFill>
                            <a:schemeClr val="tx2"/>
                          </a:solidFill>
                          <a:effectLst/>
                          <a:latin typeface="+mn-lt"/>
                        </a:rPr>
                        <a:t>3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Goldsteig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68801837"/>
                  </a:ext>
                </a:extLst>
              </a:tr>
              <a:tr h="72141">
                <a:tc>
                  <a:txBody>
                    <a:bodyPr/>
                    <a:lstStyle/>
                    <a:p>
                      <a:pPr algn="ctr" fontAlgn="b"/>
                      <a:r>
                        <a:rPr lang="en-CH" sz="400" b="0" i="0" u="none" strike="noStrike">
                          <a:solidFill>
                            <a:schemeClr val="tx2"/>
                          </a:solidFill>
                          <a:effectLst/>
                          <a:latin typeface="+mn-lt"/>
                        </a:rPr>
                        <a:t>3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achsenmilch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30466797"/>
                  </a:ext>
                </a:extLst>
              </a:tr>
              <a:tr h="72141">
                <a:tc>
                  <a:txBody>
                    <a:bodyPr/>
                    <a:lstStyle/>
                    <a:p>
                      <a:pPr algn="ctr" fontAlgn="b"/>
                      <a:r>
                        <a:rPr lang="en-CH" sz="400" b="0" i="0" u="none" strike="noStrike">
                          <a:solidFill>
                            <a:schemeClr val="tx2"/>
                          </a:solidFill>
                          <a:effectLst/>
                          <a:latin typeface="+mn-lt"/>
                        </a:rPr>
                        <a:t>3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chwarzwaldmilch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73938335"/>
                  </a:ext>
                </a:extLst>
              </a:tr>
              <a:tr h="72141">
                <a:tc>
                  <a:txBody>
                    <a:bodyPr/>
                    <a:lstStyle/>
                    <a:p>
                      <a:pPr algn="ctr" fontAlgn="b"/>
                      <a:r>
                        <a:rPr lang="en-CH" sz="400" b="0" i="0" u="none" strike="noStrike">
                          <a:solidFill>
                            <a:schemeClr val="tx2"/>
                          </a:solidFill>
                          <a:effectLst/>
                          <a:latin typeface="+mn-lt"/>
                        </a:rPr>
                        <a:t>4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en-US" sz="400" b="0" i="0" u="none" strike="noStrike">
                          <a:solidFill>
                            <a:schemeClr val="tx2"/>
                          </a:solidFill>
                          <a:effectLst/>
                          <a:latin typeface="+mn-lt"/>
                        </a:rPr>
                        <a:t>Kerrygold Becher 1 Ct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43170031"/>
                  </a:ext>
                </a:extLst>
              </a:tr>
              <a:tr h="72141">
                <a:tc>
                  <a:txBody>
                    <a:bodyPr/>
                    <a:lstStyle/>
                    <a:p>
                      <a:pPr algn="ctr" fontAlgn="b"/>
                      <a:r>
                        <a:rPr lang="en-CH" sz="400" b="0" i="0" u="none" strike="noStrike">
                          <a:solidFill>
                            <a:schemeClr val="tx2"/>
                          </a:solidFill>
                          <a:effectLst/>
                          <a:latin typeface="+mn-lt"/>
                        </a:rPr>
                        <a:t>4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chwarzwaldmilch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48716760"/>
                  </a:ext>
                </a:extLst>
              </a:tr>
              <a:tr h="72141">
                <a:tc>
                  <a:txBody>
                    <a:bodyPr/>
                    <a:lstStyle/>
                    <a:p>
                      <a:pPr algn="ctr" fontAlgn="b"/>
                      <a:r>
                        <a:rPr lang="en-CH" sz="400" b="0" i="0" u="none" strike="noStrike">
                          <a:solidFill>
                            <a:schemeClr val="tx2"/>
                          </a:solidFill>
                          <a:effectLst/>
                          <a:latin typeface="+mn-lt"/>
                        </a:rPr>
                        <a:t>4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Uplaender Bio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25759696"/>
                  </a:ext>
                </a:extLst>
              </a:tr>
              <a:tr h="72141">
                <a:tc>
                  <a:txBody>
                    <a:bodyPr/>
                    <a:lstStyle/>
                    <a:p>
                      <a:pPr algn="ctr" fontAlgn="b"/>
                      <a:r>
                        <a:rPr lang="en-CH" sz="400" b="0" i="0" u="none" strike="noStrike">
                          <a:solidFill>
                            <a:schemeClr val="tx2"/>
                          </a:solidFill>
                          <a:effectLst/>
                          <a:latin typeface="+mn-lt"/>
                        </a:rPr>
                        <a:t>4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Grill / Fleisch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88487155"/>
                  </a:ext>
                </a:extLst>
              </a:tr>
              <a:tr h="72141">
                <a:tc>
                  <a:txBody>
                    <a:bodyPr/>
                    <a:lstStyle/>
                    <a:p>
                      <a:pPr algn="ctr" fontAlgn="b"/>
                      <a:r>
                        <a:rPr lang="en-CH" sz="400" b="0" i="0" u="none" strike="noStrike">
                          <a:solidFill>
                            <a:schemeClr val="tx2"/>
                          </a:solidFill>
                          <a:effectLst/>
                          <a:latin typeface="+mn-lt"/>
                        </a:rPr>
                        <a:t>4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Dairygold Original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51853753"/>
                  </a:ext>
                </a:extLst>
              </a:tr>
              <a:tr h="72141">
                <a:tc>
                  <a:txBody>
                    <a:bodyPr/>
                    <a:lstStyle/>
                    <a:p>
                      <a:pPr algn="ctr" fontAlgn="b"/>
                      <a:r>
                        <a:rPr lang="en-CH" sz="400" b="0" i="0" u="none" strike="noStrike">
                          <a:solidFill>
                            <a:schemeClr val="tx2"/>
                          </a:solidFill>
                          <a:effectLst/>
                          <a:latin typeface="+mn-lt"/>
                        </a:rPr>
                        <a:t>4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Glaeserne Molkerei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94004136"/>
                  </a:ext>
                </a:extLst>
              </a:tr>
              <a:tr h="72141">
                <a:tc>
                  <a:txBody>
                    <a:bodyPr/>
                    <a:lstStyle/>
                    <a:p>
                      <a:pPr algn="ctr" fontAlgn="b"/>
                      <a:r>
                        <a:rPr lang="en-CH" sz="400" b="0" i="0" u="none" strike="noStrike">
                          <a:solidFill>
                            <a:schemeClr val="tx2"/>
                          </a:solidFill>
                          <a:effectLst/>
                          <a:latin typeface="+mn-lt"/>
                        </a:rPr>
                        <a:t>4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Suessrahmbutter Falts 5 Ct 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695749"/>
                  </a:ext>
                </a:extLst>
              </a:tr>
              <a:tr h="72141">
                <a:tc>
                  <a:txBody>
                    <a:bodyPr/>
                    <a:lstStyle/>
                    <a:p>
                      <a:pPr algn="ctr" fontAlgn="b"/>
                      <a:r>
                        <a:rPr lang="en-CH" sz="400" b="0" i="0" u="none" strike="noStrike">
                          <a:solidFill>
                            <a:schemeClr val="tx2"/>
                          </a:solidFill>
                          <a:effectLst/>
                          <a:latin typeface="+mn-lt"/>
                        </a:rPr>
                        <a:t>4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Alpenbutter Suessrahmbutter 125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31500203"/>
                  </a:ext>
                </a:extLst>
              </a:tr>
              <a:tr h="72141">
                <a:tc>
                  <a:txBody>
                    <a:bodyPr/>
                    <a:lstStyle/>
                    <a:p>
                      <a:pPr algn="ctr" fontAlgn="b"/>
                      <a:r>
                        <a:rPr lang="en-CH" sz="400" b="0" i="0" u="none" strike="noStrike">
                          <a:solidFill>
                            <a:schemeClr val="tx2"/>
                          </a:solidFill>
                          <a:effectLst/>
                          <a:latin typeface="+mn-lt"/>
                        </a:rPr>
                        <a:t>4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Mediterran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76802235"/>
                  </a:ext>
                </a:extLst>
              </a:tr>
              <a:tr h="72141">
                <a:tc>
                  <a:txBody>
                    <a:bodyPr/>
                    <a:lstStyle/>
                    <a:p>
                      <a:pPr algn="ctr" fontAlgn="b"/>
                      <a:r>
                        <a:rPr lang="en-CH" sz="400" b="0" i="0" u="none" strike="noStrike">
                          <a:solidFill>
                            <a:schemeClr val="tx2"/>
                          </a:solidFill>
                          <a:effectLst/>
                          <a:latin typeface="+mn-lt"/>
                        </a:rPr>
                        <a:t>4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Frankenland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37404249"/>
                  </a:ext>
                </a:extLst>
              </a:tr>
              <a:tr h="72141">
                <a:tc>
                  <a:txBody>
                    <a:bodyPr/>
                    <a:lstStyle/>
                    <a:p>
                      <a:pPr algn="ctr" fontAlgn="b"/>
                      <a:r>
                        <a:rPr lang="en-CH" sz="400" b="0" i="0" u="none" strike="noStrike">
                          <a:solidFill>
                            <a:schemeClr val="tx2"/>
                          </a:solidFill>
                          <a:effectLst/>
                          <a:latin typeface="+mn-lt"/>
                        </a:rPr>
                        <a:t>5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dirty="0" err="1">
                          <a:solidFill>
                            <a:schemeClr val="tx2"/>
                          </a:solidFill>
                          <a:effectLst/>
                          <a:latin typeface="+mn-lt"/>
                        </a:rPr>
                        <a:t>Meggle</a:t>
                      </a:r>
                      <a:r>
                        <a:rPr lang="fr-CH" sz="400" b="0" i="0" u="none" strike="noStrike" dirty="0">
                          <a:solidFill>
                            <a:schemeClr val="tx2"/>
                          </a:solidFill>
                          <a:effectLst/>
                          <a:latin typeface="+mn-lt"/>
                        </a:rPr>
                        <a:t> </a:t>
                      </a:r>
                      <a:r>
                        <a:rPr lang="fr-CH" sz="400" b="0" i="0" u="none" strike="noStrike" dirty="0" err="1">
                          <a:solidFill>
                            <a:schemeClr val="tx2"/>
                          </a:solidFill>
                          <a:effectLst/>
                          <a:latin typeface="+mn-lt"/>
                        </a:rPr>
                        <a:t>Vegane</a:t>
                      </a:r>
                      <a:r>
                        <a:rPr lang="fr-CH" sz="400" b="0" i="0" u="none" strike="noStrike" dirty="0">
                          <a:solidFill>
                            <a:schemeClr val="tx2"/>
                          </a:solidFill>
                          <a:effectLst/>
                          <a:latin typeface="+mn-lt"/>
                        </a:rPr>
                        <a:t> Grill / </a:t>
                      </a:r>
                      <a:r>
                        <a:rPr lang="fr-CH" sz="400" b="0" i="0" u="none" strike="noStrike" dirty="0" err="1">
                          <a:solidFill>
                            <a:schemeClr val="tx2"/>
                          </a:solidFill>
                          <a:effectLst/>
                          <a:latin typeface="+mn-lt"/>
                        </a:rPr>
                        <a:t>Fleisch</a:t>
                      </a:r>
                      <a:r>
                        <a:rPr lang="fr-CH" sz="400" b="0" i="0" u="none" strike="noStrike" dirty="0">
                          <a:solidFill>
                            <a:schemeClr val="tx2"/>
                          </a:solidFill>
                          <a:effectLst/>
                          <a:latin typeface="+mn-lt"/>
                        </a:rPr>
                        <a:t> Tube 8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2892768295"/>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5481369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1/27/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rPr lang="en-US" dirty="0"/>
              <a:t>Data Source | Trade Panel | Ending October 2022</a:t>
            </a:r>
            <a:endParaRPr lang="en-GB" dirty="0"/>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r>
              <a:rPr lang="en-US"/>
              <a:t>Top 20 Promotions By Value and Incremental | Carrefour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helf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Value</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ncr Value</a:t>
                      </a:r>
                      <a:endParaRPr lang="en-US" sz="1800"/>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ale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S.A.</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fontAlgn="ctr"/>
                      <a:r>
                        <a:rPr lang="fr-CH" sz="600" b="0" i="0" u="none" strike="noStrike">
                          <a:solidFill>
                            <a:schemeClr val="tx1"/>
                          </a:solidFill>
                          <a:effectLst/>
                          <a:latin typeface="Nexa Book"/>
                        </a:rPr>
                        <a:t>Pescanova S.a. Natural Gamberi 2000GR</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25.11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19.97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709’013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lvl="0" algn="ctr">
                        <a:buNone/>
                      </a:pPr>
                      <a:r>
                        <a:rPr lang="en-CH" sz="600" b="0" i="0" u="none" strike="noStrike">
                          <a:solidFill>
                            <a:schemeClr val="tx1"/>
                          </a:solidFill>
                          <a:effectLst/>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Totani</a:t>
                      </a:r>
                      <a:r>
                        <a:rPr lang="fr-CH" sz="600" b="0" i="0" u="none" strike="noStrike" dirty="0">
                          <a:solidFill>
                            <a:schemeClr val="tx1"/>
                          </a:solidFill>
                          <a:effectLst/>
                          <a:latin typeface="Nexa Book"/>
                        </a:rPr>
                        <a:t>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2%</a:t>
                      </a:r>
                    </a:p>
                  </a:txBody>
                  <a:tcPr marL="2858" marR="2858" marT="2858" marB="0" anchor="ctr">
                    <a:noFill/>
                  </a:tcPr>
                </a:tc>
                <a:tc>
                  <a:txBody>
                    <a:bodyPr/>
                    <a:lstStyle/>
                    <a:p>
                      <a:pPr algn="ctr" fontAlgn="ctr"/>
                      <a:r>
                        <a:rPr lang="en-CH" sz="600" b="0" i="0" u="none" strike="noStrike">
                          <a:solidFill>
                            <a:schemeClr val="tx1"/>
                          </a:solidFill>
                          <a:effectLst/>
                          <a:latin typeface="Nexa Book"/>
                        </a:rPr>
                        <a:t> €      5.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63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8%</a:t>
                      </a:r>
                    </a:p>
                  </a:txBody>
                  <a:tcPr marL="2858" marR="2858" marT="2858" marB="0" anchor="ctr">
                    <a:noFill/>
                  </a:tcPr>
                </a:tc>
                <a:tc>
                  <a:txBody>
                    <a:bodyPr/>
                    <a:lstStyle/>
                    <a:p>
                      <a:pPr algn="ctr" fontAlgn="ctr"/>
                      <a:r>
                        <a:rPr lang="en-CH" sz="600" b="0" i="0" u="none" strike="noStrike">
                          <a:solidFill>
                            <a:schemeClr val="tx1"/>
                          </a:solidFill>
                          <a:effectLst/>
                          <a:latin typeface="Nexa Book"/>
                        </a:rPr>
                        <a:t>11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54</a:t>
                      </a:r>
                    </a:p>
                  </a:txBody>
                  <a:tcPr marL="2858" marR="2858" marT="2858" marB="0" anchor="ctr">
                    <a:noFill/>
                  </a:tcPr>
                </a:tc>
                <a:tc>
                  <a:txBody>
                    <a:bodyPr/>
                    <a:lstStyle/>
                    <a:p>
                      <a:pPr algn="ctr" fontAlgn="ctr"/>
                      <a:r>
                        <a:rPr lang="en-CH" sz="600" b="0" i="0" u="none" strike="noStrike">
                          <a:solidFill>
                            <a:schemeClr val="tx1"/>
                          </a:solidFill>
                          <a:effectLst/>
                          <a:latin typeface="Nexa Book"/>
                        </a:rPr>
                        <a:t>2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fontAlgn="ctr"/>
                      <a:r>
                        <a:rPr lang="fr-CH" sz="600" b="0" i="0" u="none" strike="noStrike">
                          <a:solidFill>
                            <a:schemeClr val="tx1"/>
                          </a:solidFill>
                          <a:effectLst/>
                          <a:latin typeface="Nexa Book"/>
                        </a:rPr>
                        <a:t>Pescanova S.A.</a:t>
                      </a: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a:t>
                      </a:r>
                      <a:r>
                        <a:rPr lang="fr-CH" sz="600" b="0" i="0" u="none" strike="noStrike" dirty="0" err="1">
                          <a:solidFill>
                            <a:schemeClr val="tx1"/>
                          </a:solidFill>
                          <a:effectLst/>
                          <a:latin typeface="Nexa Book"/>
                        </a:rPr>
                        <a:t>S.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Polpi</a:t>
                      </a:r>
                      <a:r>
                        <a:rPr lang="fr-CH" sz="600" b="0" i="0" u="none" strike="noStrike" dirty="0">
                          <a:solidFill>
                            <a:schemeClr val="tx1"/>
                          </a:solidFill>
                          <a:effectLst/>
                          <a:latin typeface="Nexa Book"/>
                        </a:rPr>
                        <a:t> 1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57%</a:t>
                      </a:r>
                    </a:p>
                  </a:txBody>
                  <a:tcPr marL="2858" marR="2858" marT="2858" marB="0" anchor="ctr">
                    <a:noFill/>
                  </a:tcPr>
                </a:tc>
                <a:tc>
                  <a:txBody>
                    <a:bodyPr/>
                    <a:lstStyle/>
                    <a:p>
                      <a:pPr algn="ctr" fontAlgn="ctr"/>
                      <a:r>
                        <a:rPr lang="en-CH" sz="600" b="0" i="0" u="none" strike="noStrike">
                          <a:solidFill>
                            <a:schemeClr val="tx1"/>
                          </a:solidFill>
                          <a:effectLst/>
                          <a:latin typeface="Nexa Book"/>
                        </a:rPr>
                        <a:t> €   16.2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0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28’53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16%</a:t>
                      </a:r>
                    </a:p>
                  </a:txBody>
                  <a:tcPr marL="2858" marR="2858" marT="2858" marB="0" anchor="ctr">
                    <a:noFill/>
                  </a:tcPr>
                </a:tc>
                <a:tc>
                  <a:txBody>
                    <a:bodyPr/>
                    <a:lstStyle/>
                    <a:p>
                      <a:pPr algn="ctr" fontAlgn="ctr"/>
                      <a:r>
                        <a:rPr lang="en-CH" sz="600" b="0" i="0" u="none" strike="noStrike">
                          <a:solidFill>
                            <a:schemeClr val="tx1"/>
                          </a:solidFill>
                          <a:effectLst/>
                          <a:latin typeface="Nexa Book"/>
                        </a:rPr>
                        <a:t>14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5543</a:t>
                      </a:r>
                    </a:p>
                  </a:txBody>
                  <a:tcPr marL="2858" marR="2858" marT="2858" marB="0" anchor="ctr">
                    <a:noFill/>
                  </a:tcPr>
                </a:tc>
                <a:tc>
                  <a:txBody>
                    <a:bodyPr/>
                    <a:lstStyle/>
                    <a:p>
                      <a:pPr algn="ctr" fontAlgn="ctr"/>
                      <a:r>
                        <a:rPr lang="en-CH" sz="600" b="0" i="0" u="none" strike="noStrike">
                          <a:solidFill>
                            <a:schemeClr val="tx1"/>
                          </a:solidFill>
                          <a:effectLst/>
                          <a:latin typeface="Nexa Book"/>
                        </a:rPr>
                        <a:t>28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Mazzancolle</a:t>
                      </a:r>
                      <a:r>
                        <a:rPr lang="fr-CH" sz="600" b="0" i="0" u="none" strike="noStrike">
                          <a:solidFill>
                            <a:schemeClr val="tx1"/>
                          </a:solidFill>
                          <a:effectLst/>
                          <a:latin typeface="Nexa Book"/>
                        </a:rPr>
                        <a:t>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5.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9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1’9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9%</a:t>
                      </a:r>
                    </a:p>
                  </a:txBody>
                  <a:tcPr marL="2858" marR="2858" marT="2858" marB="0" anchor="ctr">
                    <a:noFill/>
                  </a:tcPr>
                </a:tc>
                <a:tc>
                  <a:txBody>
                    <a:bodyPr/>
                    <a:lstStyle/>
                    <a:p>
                      <a:pPr algn="ctr" fontAlgn="ctr"/>
                      <a:r>
                        <a:rPr lang="en-CH" sz="600" b="0" i="0" u="none" strike="noStrike">
                          <a:solidFill>
                            <a:schemeClr val="tx1"/>
                          </a:solidFill>
                          <a:effectLst/>
                          <a:latin typeface="Nexa Book"/>
                        </a:rPr>
                        <a:t>79%</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75435</a:t>
                      </a:r>
                    </a:p>
                  </a:txBody>
                  <a:tcPr marL="2858" marR="2858" marT="2858" marB="0" anchor="ctr">
                    <a:noFill/>
                  </a:tcPr>
                </a:tc>
                <a:tc>
                  <a:txBody>
                    <a:bodyPr/>
                    <a:lstStyle/>
                    <a:p>
                      <a:pPr algn="ctr" fontAlgn="ctr"/>
                      <a:r>
                        <a:rPr lang="en-CH" sz="600" b="0" i="0" u="none" strike="noStrike">
                          <a:solidFill>
                            <a:schemeClr val="tx1"/>
                          </a:solidFill>
                          <a:effectLst/>
                          <a:latin typeface="Nexa Book"/>
                        </a:rPr>
                        <a:t>24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it-IT" sz="600" b="0" i="0" u="none" strike="noStrike">
                          <a:solidFill>
                            <a:schemeClr val="tx1"/>
                          </a:solidFill>
                          <a:effectLst/>
                          <a:latin typeface="Nexa Book"/>
                        </a:rPr>
                        <a:t>Arbi Dario Spa Misto Scoglio Bianco 4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 €      5.1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6’9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28%</a:t>
                      </a:r>
                    </a:p>
                  </a:txBody>
                  <a:tcPr marL="2858" marR="2858" marT="2858" marB="0" anchor="ctr">
                    <a:noFill/>
                  </a:tcPr>
                </a:tc>
                <a:tc>
                  <a:txBody>
                    <a:bodyPr/>
                    <a:lstStyle/>
                    <a:p>
                      <a:pPr algn="ctr" fontAlgn="ctr"/>
                      <a:r>
                        <a:rPr lang="en-CH" sz="600" b="0" i="0" u="none" strike="noStrike">
                          <a:solidFill>
                            <a:schemeClr val="tx1"/>
                          </a:solidFill>
                          <a:effectLst/>
                          <a:latin typeface="Nexa Book"/>
                        </a:rPr>
                        <a:t>18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135</a:t>
                      </a:r>
                    </a:p>
                  </a:txBody>
                  <a:tcPr marL="2858" marR="2858" marT="2858" marB="0" anchor="ctr">
                    <a:noFill/>
                  </a:tcPr>
                </a:tc>
                <a:tc>
                  <a:txBody>
                    <a:bodyPr/>
                    <a:lstStyle/>
                    <a:p>
                      <a:pPr algn="ctr" fontAlgn="ctr"/>
                      <a:r>
                        <a:rPr lang="en-CH" sz="600" b="0" i="0" u="none" strike="noStrike">
                          <a:solidFill>
                            <a:schemeClr val="tx1"/>
                          </a:solidFill>
                          <a:effectLst/>
                          <a:latin typeface="Nexa Book"/>
                        </a:rPr>
                        <a:t>22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8%</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algn="ctr" fontAlgn="ctr"/>
                      <a:r>
                        <a:rPr lang="en-CH" sz="600" b="0" i="0" u="none" strike="noStrike">
                          <a:solidFill>
                            <a:schemeClr val="tx1"/>
                          </a:solidFill>
                          <a:effectLst/>
                          <a:latin typeface="Nexa Book"/>
                        </a:rPr>
                        <a:t> €   14.5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2’34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261%</a:t>
                      </a:r>
                    </a:p>
                  </a:txBody>
                  <a:tcPr marL="2858" marR="2858" marT="2858" marB="0" anchor="ctr">
                    <a:noFill/>
                  </a:tcPr>
                </a:tc>
                <a:tc>
                  <a:txBody>
                    <a:bodyPr/>
                    <a:lstStyle/>
                    <a:p>
                      <a:pPr algn="ctr" fontAlgn="ctr"/>
                      <a:r>
                        <a:rPr lang="en-CH" sz="600" b="0" i="0" u="none" strike="noStrike">
                          <a:solidFill>
                            <a:schemeClr val="tx1"/>
                          </a:solidFill>
                          <a:effectLst/>
                          <a:latin typeface="Nexa Book"/>
                        </a:rPr>
                        <a:t>37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34</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fontAlgn="ctr"/>
                      <a:r>
                        <a:rPr lang="fr-CH" sz="600" b="0" i="0" u="none" strike="noStrike">
                          <a:solidFill>
                            <a:schemeClr val="tx1"/>
                          </a:solidFill>
                          <a:effectLst/>
                          <a:latin typeface="Nexa Book"/>
                        </a:rPr>
                        <a:t>Fandicost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it-IT" sz="600" b="0" i="0" u="none" strike="noStrike" dirty="0">
                          <a:solidFill>
                            <a:schemeClr val="tx1"/>
                          </a:solidFill>
                          <a:effectLst/>
                          <a:latin typeface="Nexa Book"/>
                        </a:rPr>
                        <a:t>Fandicosta Fillets Nasello Bk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0%</a:t>
                      </a:r>
                    </a:p>
                  </a:txBody>
                  <a:tcPr marL="2858" marR="2858" marT="2858" marB="0" anchor="ctr">
                    <a:noFill/>
                  </a:tcPr>
                </a:tc>
                <a:tc>
                  <a:txBody>
                    <a:bodyPr/>
                    <a:lstStyle/>
                    <a:p>
                      <a:pPr algn="ctr" fontAlgn="ctr"/>
                      <a:r>
                        <a:rPr lang="en-CH" sz="600" b="0" i="0" u="none" strike="noStrike">
                          <a:solidFill>
                            <a:schemeClr val="tx1"/>
                          </a:solidFill>
                          <a:effectLst/>
                          <a:latin typeface="Nexa Book"/>
                        </a:rPr>
                        <a:t> €      5.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3’55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6%</a:t>
                      </a: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35</a:t>
                      </a:r>
                    </a:p>
                  </a:txBody>
                  <a:tcPr marL="2858" marR="2858" marT="2858" marB="0" anchor="ctr">
                    <a:noFill/>
                  </a:tcPr>
                </a:tc>
                <a:tc>
                  <a:txBody>
                    <a:bodyPr/>
                    <a:lstStyle/>
                    <a:p>
                      <a:pPr algn="ctr" fontAlgn="ctr"/>
                      <a:r>
                        <a:rPr lang="en-CH" sz="600" b="0" i="0" u="none" strike="noStrike">
                          <a:solidFill>
                            <a:schemeClr val="tx1"/>
                          </a:solidFill>
                          <a:effectLst/>
                          <a:latin typeface="Nexa Book"/>
                        </a:rPr>
                        <a:t>216%</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D Alaska Chips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35%</a:t>
                      </a:r>
                    </a:p>
                  </a:txBody>
                  <a:tcPr marL="2858" marR="2858" marT="2858" marB="0" anchor="ctr">
                    <a:noFill/>
                  </a:tcPr>
                </a:tc>
                <a:tc>
                  <a:txBody>
                    <a:bodyPr/>
                    <a:lstStyle/>
                    <a:p>
                      <a:pPr algn="ctr" fontAlgn="ctr"/>
                      <a:r>
                        <a:rPr lang="en-CH" sz="600" b="0" i="0" u="none" strike="noStrike">
                          <a:solidFill>
                            <a:schemeClr val="tx1"/>
                          </a:solidFill>
                          <a:effectLst/>
                          <a:latin typeface="Nexa Book"/>
                        </a:rPr>
                        <a:t> €      3.4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7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8’02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1%</a:t>
                      </a:r>
                    </a:p>
                  </a:txBody>
                  <a:tcPr marL="2858" marR="2858" marT="2858" marB="0" anchor="ctr">
                    <a:noFill/>
                  </a:tcPr>
                </a:tc>
                <a:tc>
                  <a:txBody>
                    <a:bodyPr/>
                    <a:lstStyle/>
                    <a:p>
                      <a:pPr algn="ctr" fontAlgn="ctr"/>
                      <a:r>
                        <a:rPr lang="en-CH" sz="600" b="0" i="0" u="none" strike="noStrike">
                          <a:solidFill>
                            <a:schemeClr val="tx1"/>
                          </a:solidFill>
                          <a:effectLst/>
                          <a:latin typeface="Nexa Book"/>
                        </a:rPr>
                        <a:t>94%</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535</a:t>
                      </a:r>
                    </a:p>
                  </a:txBody>
                  <a:tcPr marL="2858" marR="2858" marT="2858" marB="0" anchor="ctr">
                    <a:noFill/>
                  </a:tcPr>
                </a:tc>
                <a:tc>
                  <a:txBody>
                    <a:bodyPr/>
                    <a:lstStyle/>
                    <a:p>
                      <a:pPr algn="ctr" fontAlgn="ctr"/>
                      <a:r>
                        <a:rPr lang="en-CH" sz="600" b="0" i="0" u="none" strike="noStrike">
                          <a:solidFill>
                            <a:schemeClr val="tx1"/>
                          </a:solidFill>
                          <a:effectLst/>
                          <a:latin typeface="Nexa Book"/>
                        </a:rPr>
                        <a:t>20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fontAlgn="ctr"/>
                      <a:r>
                        <a:rPr lang="fr-CH" sz="600" b="0" i="0" u="none" strike="noStrike" dirty="0" err="1">
                          <a:solidFill>
                            <a:schemeClr val="tx1"/>
                          </a:solidFill>
                          <a:effectLst/>
                          <a:latin typeface="Nexa Book"/>
                        </a:rPr>
                        <a:t>Private</a:t>
                      </a:r>
                      <a:r>
                        <a:rPr lang="fr-CH" sz="600" b="0" i="0" u="none" strike="noStrike" dirty="0">
                          <a:solidFill>
                            <a:schemeClr val="tx1"/>
                          </a:solidFill>
                          <a:effectLst/>
                          <a:latin typeface="Nexa Book"/>
                        </a:rPr>
                        <a:t>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llets Merluzzo Bk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7%</a:t>
                      </a:r>
                    </a:p>
                  </a:txBody>
                  <a:tcPr marL="2858" marR="2858" marT="2858" marB="0" anchor="ctr">
                    <a:noFill/>
                  </a:tcPr>
                </a:tc>
                <a:tc>
                  <a:txBody>
                    <a:bodyPr/>
                    <a:lstStyle/>
                    <a:p>
                      <a:pPr algn="ctr" fontAlgn="ctr"/>
                      <a:r>
                        <a:rPr lang="en-CH" sz="600" b="0" i="0" u="none" strike="noStrike">
                          <a:solidFill>
                            <a:schemeClr val="tx1"/>
                          </a:solidFill>
                          <a:effectLst/>
                          <a:latin typeface="Nexa Book"/>
                        </a:rPr>
                        <a:t>37%</a:t>
                      </a:r>
                    </a:p>
                  </a:txBody>
                  <a:tcPr marL="2858" marR="2858" marT="2858" marB="0" anchor="ctr">
                    <a:noFill/>
                  </a:tcPr>
                </a:tc>
                <a:tc>
                  <a:txBody>
                    <a:bodyPr/>
                    <a:lstStyle/>
                    <a:p>
                      <a:pPr algn="ctr" fontAlgn="ctr"/>
                      <a:r>
                        <a:rPr lang="en-CH" sz="600" b="0" i="0" u="none" strike="noStrike">
                          <a:solidFill>
                            <a:schemeClr val="tx1"/>
                          </a:solidFill>
                          <a:effectLst/>
                          <a:latin typeface="Nexa Book"/>
                        </a:rPr>
                        <a:t> €      4.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8’3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33%</a:t>
                      </a: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835</a:t>
                      </a:r>
                    </a:p>
                  </a:txBody>
                  <a:tcPr marL="2858" marR="2858" marT="2858" marB="0" anchor="ctr">
                    <a:noFill/>
                  </a:tcPr>
                </a:tc>
                <a:tc>
                  <a:txBody>
                    <a:bodyPr/>
                    <a:lstStyle/>
                    <a:p>
                      <a:pPr algn="ctr" fontAlgn="ctr"/>
                      <a:r>
                        <a:rPr lang="en-CH" sz="600" b="0" i="0" u="none" strike="noStrike">
                          <a:solidFill>
                            <a:schemeClr val="tx1"/>
                          </a:solidFill>
                          <a:effectLst/>
                          <a:latin typeface="Nexa Book"/>
                        </a:rPr>
                        <a:t>204%</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atinata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5%</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3.0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2’02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81%</a:t>
                      </a:r>
                    </a:p>
                  </a:txBody>
                  <a:tcPr marL="2858" marR="2858" marT="2858" marB="0" anchor="ctr">
                    <a:noFill/>
                  </a:tcPr>
                </a:tc>
                <a:tc>
                  <a:txBody>
                    <a:bodyPr/>
                    <a:lstStyle/>
                    <a:p>
                      <a:pPr algn="ctr" fontAlgn="ctr"/>
                      <a:r>
                        <a:rPr lang="en-CH" sz="600" b="0" i="0" u="none" strike="noStrike">
                          <a:solidFill>
                            <a:schemeClr val="tx1"/>
                          </a:solidFill>
                          <a:effectLst/>
                          <a:latin typeface="Nexa Book"/>
                        </a:rPr>
                        <a:t>26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4035</a:t>
                      </a:r>
                    </a:p>
                  </a:txBody>
                  <a:tcPr marL="2858" marR="2858" marT="2858" marB="0" anchor="ctr">
                    <a:noFill/>
                  </a:tcPr>
                </a:tc>
                <a:tc>
                  <a:txBody>
                    <a:bodyPr/>
                    <a:lstStyle/>
                    <a:p>
                      <a:pPr algn="ctr" fontAlgn="ctr"/>
                      <a:r>
                        <a:rPr lang="en-CH" sz="600" b="0" i="0" u="none" strike="noStrike">
                          <a:solidFill>
                            <a:schemeClr val="tx1"/>
                          </a:solidFill>
                          <a:effectLst/>
                          <a:latin typeface="Nexa Book"/>
                        </a:rPr>
                        <a:t>201%</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Pollack Alaska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31%</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3.81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7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4%</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3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9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igliato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39%</a:t>
                      </a: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5’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19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Gamberetti 2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4.8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4’85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8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3</a:t>
                      </a:r>
                    </a:p>
                  </a:txBody>
                  <a:tcPr marL="2858" marR="2858" marT="2858" marB="0" anchor="ctr">
                    <a:noFill/>
                  </a:tcPr>
                </a:tc>
                <a:tc>
                  <a:txBody>
                    <a:bodyPr/>
                    <a:lstStyle/>
                    <a:p>
                      <a:pPr algn="ctr" fontAlgn="ctr"/>
                      <a:r>
                        <a:rPr lang="en-CH" sz="600" b="0" i="0" u="none" strike="noStrike">
                          <a:solidFill>
                            <a:schemeClr val="tx1"/>
                          </a:solidFill>
                          <a:effectLst/>
                          <a:latin typeface="Nexa Book"/>
                        </a:rPr>
                        <a:t>1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Standard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4%</a:t>
                      </a:r>
                    </a:p>
                  </a:txBody>
                  <a:tcPr marL="2858" marR="2858" marT="2858" marB="0" anchor="ctr">
                    <a:noFill/>
                  </a:tcPr>
                </a:tc>
                <a:tc>
                  <a:txBody>
                    <a:bodyPr/>
                    <a:lstStyle/>
                    <a:p>
                      <a:pPr algn="ctr" fontAlgn="ctr"/>
                      <a:r>
                        <a:rPr lang="en-CH" sz="600" b="0" i="0" u="none" strike="noStrike">
                          <a:solidFill>
                            <a:schemeClr val="tx1"/>
                          </a:solidFill>
                          <a:effectLst/>
                          <a:latin typeface="Nexa Book"/>
                        </a:rPr>
                        <a:t> €      3.3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6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28’888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Fish Fingers Merluzzo 7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9%</a:t>
                      </a:r>
                    </a:p>
                  </a:txBody>
                  <a:tcPr marL="2858" marR="2858" marT="2858" marB="0" anchor="ctr">
                    <a:noFill/>
                  </a:tcPr>
                </a:tc>
                <a:tc>
                  <a:txBody>
                    <a:bodyPr/>
                    <a:lstStyle/>
                    <a:p>
                      <a:pPr algn="ctr" fontAlgn="ctr"/>
                      <a:r>
                        <a:rPr lang="en-CH" sz="600" b="0" i="0" u="none" strike="noStrike">
                          <a:solidFill>
                            <a:schemeClr val="tx1"/>
                          </a:solidFill>
                          <a:effectLst/>
                          <a:latin typeface="Nexa Book"/>
                        </a:rPr>
                        <a:t>60%</a:t>
                      </a:r>
                    </a:p>
                  </a:txBody>
                  <a:tcPr marL="2858" marR="2858" marT="2858" marB="0" anchor="ctr">
                    <a:noFill/>
                  </a:tcPr>
                </a:tc>
                <a:tc>
                  <a:txBody>
                    <a:bodyPr/>
                    <a:lstStyle/>
                    <a:p>
                      <a:pPr algn="ctr" fontAlgn="ctr"/>
                      <a:r>
                        <a:rPr lang="en-CH" sz="600" b="0" i="0" u="none" strike="noStrike">
                          <a:solidFill>
                            <a:schemeClr val="tx1"/>
                          </a:solidFill>
                          <a:effectLst/>
                          <a:latin typeface="Nexa Book"/>
                        </a:rPr>
                        <a:t> €      7.2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1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85’3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63%</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a:solidFill>
                            <a:schemeClr val="tx1"/>
                          </a:solidFill>
                          <a:effectLst/>
                          <a:latin typeface="Nexa Book"/>
                        </a:rPr>
                        <a:t>58%</a:t>
                      </a:r>
                    </a:p>
                  </a:txBody>
                  <a:tcPr marL="2858" marR="2858" marT="2858" marB="0" anchor="ctr">
                    <a:noFill/>
                  </a:tcPr>
                </a:tc>
                <a:tc>
                  <a:txBody>
                    <a:bodyPr/>
                    <a:lstStyle/>
                    <a:p>
                      <a:pPr algn="ctr" fontAlgn="ctr"/>
                      <a:r>
                        <a:rPr lang="en-CH" sz="600" b="0" i="0" u="none" strike="noStrike">
                          <a:solidFill>
                            <a:schemeClr val="tx1"/>
                          </a:solidFill>
                          <a:effectLst/>
                          <a:latin typeface="Nexa Book"/>
                        </a:rPr>
                        <a:t> €      7.3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6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81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a:t>
                      </a:r>
                    </a:p>
                  </a:txBody>
                  <a:tcPr marL="2858" marR="2858" marT="2858" marB="0" anchor="ctr">
                    <a:noFill/>
                  </a:tcPr>
                </a:tc>
                <a:tc>
                  <a:txBody>
                    <a:bodyPr/>
                    <a:lstStyle/>
                    <a:p>
                      <a:pPr algn="ctr" fontAlgn="ctr"/>
                      <a:r>
                        <a:rPr lang="en-CH" sz="600" b="0" i="0" u="none" strike="noStrike">
                          <a:solidFill>
                            <a:schemeClr val="tx1"/>
                          </a:solidFill>
                          <a:effectLst/>
                          <a:latin typeface="Nexa Book"/>
                        </a:rPr>
                        <a:t>18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sh Fingers Merluzzo Bk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49%</a:t>
                      </a:r>
                    </a:p>
                  </a:txBody>
                  <a:tcPr marL="2858" marR="2858" marT="2858" marB="0" anchor="ctr">
                    <a:noFill/>
                  </a:tcPr>
                </a:tc>
                <a:tc>
                  <a:txBody>
                    <a:bodyPr/>
                    <a:lstStyle/>
                    <a:p>
                      <a:pPr algn="ctr" fontAlgn="ctr"/>
                      <a:r>
                        <a:rPr lang="en-CH" sz="600" b="0" i="0" u="none" strike="noStrike">
                          <a:solidFill>
                            <a:schemeClr val="tx1"/>
                          </a:solidFill>
                          <a:effectLst/>
                          <a:latin typeface="Nexa Book"/>
                        </a:rPr>
                        <a:t> €      2.3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9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0’82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9</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Salmone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4.0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6’2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92%</a:t>
                      </a:r>
                    </a:p>
                  </a:txBody>
                  <a:tcPr marL="2858" marR="2858" marT="2858" marB="0" anchor="ctr">
                    <a:noFill/>
                  </a:tcPr>
                </a:tc>
                <a:tc>
                  <a:txBody>
                    <a:bodyPr/>
                    <a:lstStyle/>
                    <a:p>
                      <a:pPr algn="ctr" fontAlgn="ctr"/>
                      <a:r>
                        <a:rPr lang="en-CH" sz="600" b="0" i="0" u="none" strike="noStrike">
                          <a:solidFill>
                            <a:schemeClr val="tx1"/>
                          </a:solidFill>
                          <a:effectLst/>
                          <a:latin typeface="Nexa Book"/>
                        </a:rPr>
                        <a:t>136%</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4%</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Mazzancolle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9%</a:t>
                      </a:r>
                    </a:p>
                  </a:txBody>
                  <a:tcPr marL="2858" marR="2858" marT="2858" marB="0" anchor="ctr">
                    <a:noFill/>
                  </a:tcPr>
                </a:tc>
                <a:tc>
                  <a:txBody>
                    <a:bodyPr/>
                    <a:lstStyle/>
                    <a:p>
                      <a:pPr algn="ctr" fontAlgn="ctr"/>
                      <a:r>
                        <a:rPr lang="en-CH" sz="600" b="0" i="0" u="none" strike="noStrike">
                          <a:solidFill>
                            <a:schemeClr val="tx1"/>
                          </a:solidFill>
                          <a:effectLst/>
                          <a:latin typeface="Nexa Book"/>
                        </a:rPr>
                        <a:t>38%</a:t>
                      </a:r>
                    </a:p>
                  </a:txBody>
                  <a:tcPr marL="2858" marR="2858" marT="2858" marB="0" anchor="ctr">
                    <a:noFill/>
                  </a:tcPr>
                </a:tc>
                <a:tc>
                  <a:txBody>
                    <a:bodyPr/>
                    <a:lstStyle/>
                    <a:p>
                      <a:pPr algn="ctr" fontAlgn="ctr"/>
                      <a:r>
                        <a:rPr lang="en-CH" sz="600" b="0" i="0" u="none" strike="noStrike">
                          <a:solidFill>
                            <a:schemeClr val="tx1"/>
                          </a:solidFill>
                          <a:effectLst/>
                          <a:latin typeface="Nexa Book"/>
                        </a:rPr>
                        <a:t> €      7.1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7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40’6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48%</a:t>
                      </a:r>
                    </a:p>
                  </a:txBody>
                  <a:tcPr marL="2858" marR="2858" marT="2858" marB="0" anchor="ctr">
                    <a:noFill/>
                  </a:tcPr>
                </a:tc>
                <a:tc>
                  <a:txBody>
                    <a:bodyPr/>
                    <a:lstStyle/>
                    <a:p>
                      <a:pPr algn="ctr" fontAlgn="ctr"/>
                      <a:r>
                        <a:rPr lang="en-CH" sz="600" b="0" i="0" u="none" strike="noStrike">
                          <a:solidFill>
                            <a:schemeClr val="tx1"/>
                          </a:solidFill>
                          <a:effectLst/>
                          <a:latin typeface="Nexa Book"/>
                        </a:rPr>
                        <a:t>7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82</a:t>
                      </a:r>
                    </a:p>
                  </a:txBody>
                  <a:tcPr marL="2858" marR="2858" marT="2858" marB="0" anchor="ctr">
                    <a:noFill/>
                  </a:tcPr>
                </a:tc>
                <a:tc>
                  <a:txBody>
                    <a:bodyPr/>
                    <a:lstStyle/>
                    <a:p>
                      <a:pPr algn="ctr" fontAlgn="ctr"/>
                      <a:r>
                        <a:rPr lang="en-CH" sz="600" b="0" i="0" u="none" strike="noStrike">
                          <a:solidFill>
                            <a:schemeClr val="tx1"/>
                          </a:solidFill>
                          <a:effectLst/>
                          <a:latin typeface="Nexa Book"/>
                        </a:rPr>
                        <a:t>182%</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fr-CH" sz="600" b="0" i="0" u="none" strike="noStrike">
                          <a:solidFill>
                            <a:schemeClr val="tx1"/>
                          </a:solidFill>
                          <a:effectLst/>
                          <a:latin typeface="Nexa Book"/>
                        </a:rPr>
                        <a:t>Arbi Dario Spa Fish Salsa Crostace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4’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90</a:t>
                      </a:r>
                    </a:p>
                  </a:txBody>
                  <a:tcPr marL="2858" marR="2858" marT="2858" marB="0" anchor="ctr">
                    <a:noFill/>
                  </a:tcPr>
                </a:tc>
                <a:tc>
                  <a:txBody>
                    <a:bodyPr/>
                    <a:lstStyle/>
                    <a:p>
                      <a:pPr algn="ctr" fontAlgn="ctr"/>
                      <a:r>
                        <a:rPr lang="en-CH" sz="600" b="0" i="0" u="none" strike="noStrike">
                          <a:solidFill>
                            <a:schemeClr val="tx1"/>
                          </a:solidFill>
                          <a:effectLst/>
                          <a:latin typeface="Nexa Book"/>
                        </a:rPr>
                        <a:t>17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5372219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8BC4F6D-5EE8-8034-53AD-0E49AE2C0CC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B8BC4F6D-5EE8-8034-53AD-0E49AE2C0CC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17D2688C-259E-4553-8974-97B95EE45DEE}" type="datetime1">
              <a:rPr lang="en-US"/>
              <a:pPr/>
              <a:t>1/27/2025</a:t>
            </a:fld>
            <a:endParaRPr lang="en-US"/>
          </a:p>
        </p:txBody>
      </p:sp>
      <p:sp>
        <p:nvSpPr>
          <p:cNvPr id="12" name="Footer Placeholder 11">
            <a:extLst>
              <a:ext uri="{FF2B5EF4-FFF2-40B4-BE49-F238E27FC236}">
                <a16:creationId xmlns:a16="http://schemas.microsoft.com/office/drawing/2014/main" id="{470AC834-4931-8E51-BADA-9AEDE6C820DB}"/>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78DAE09-5169-5767-CE1B-DB92CBC184BE}"/>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rPr lang="en-US"/>
              <a:t>Data Source | Trade Panel | Ending October 2022</a:t>
            </a:r>
            <a:endParaRPr lang="en-GB"/>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r>
              <a:rPr lang="en-US"/>
              <a:t>Top 20 Promotions By Value and Incremental | Carrefour | Findu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r>
              <a:rPr lang="en-US" dirty="0">
                <a:highlight>
                  <a:srgbClr val="FFFF00"/>
                </a:highlight>
              </a:rPr>
              <a:t>Top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3556"/>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9DC869AC-8CCE-42D7-61B5-4DFA17C0718B}"/>
              </a:ext>
            </a:extLst>
          </p:cNvPr>
          <p:cNvGraphicFramePr>
            <a:graphicFrameLocks noGrp="1"/>
          </p:cNvGraphicFramePr>
          <p:nvPr>
            <p:extLst>
              <p:ext uri="{D42A27DB-BD31-4B8C-83A1-F6EECF244321}">
                <p14:modId xmlns:p14="http://schemas.microsoft.com/office/powerpoint/2010/main" val="3242603753"/>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helf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Value</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ncr Value</a:t>
                      </a:r>
                      <a:endParaRPr lang="en-US" sz="1800"/>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ale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S.A.</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fontAlgn="ctr"/>
                      <a:r>
                        <a:rPr lang="fr-CH" sz="600" b="0" i="0" u="none" strike="noStrike">
                          <a:solidFill>
                            <a:schemeClr val="tx1"/>
                          </a:solidFill>
                          <a:effectLst/>
                          <a:latin typeface="Nexa Book"/>
                        </a:rPr>
                        <a:t>Pescanova S.a. Natural Gamberi 2000GR</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25.11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19.97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709’013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lvl="0" algn="ctr">
                        <a:buNone/>
                      </a:pPr>
                      <a:r>
                        <a:rPr lang="en-CH" sz="600" b="0" i="0" u="none" strike="noStrike">
                          <a:solidFill>
                            <a:schemeClr val="tx1"/>
                          </a:solidFill>
                          <a:effectLst/>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Totani</a:t>
                      </a:r>
                      <a:r>
                        <a:rPr lang="fr-CH" sz="600" b="0" i="0" u="none" strike="noStrike" dirty="0">
                          <a:solidFill>
                            <a:schemeClr val="tx1"/>
                          </a:solidFill>
                          <a:effectLst/>
                          <a:latin typeface="Nexa Book"/>
                        </a:rPr>
                        <a:t>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2%</a:t>
                      </a:r>
                    </a:p>
                  </a:txBody>
                  <a:tcPr marL="2858" marR="2858" marT="2858" marB="0" anchor="ctr">
                    <a:noFill/>
                  </a:tcPr>
                </a:tc>
                <a:tc>
                  <a:txBody>
                    <a:bodyPr/>
                    <a:lstStyle/>
                    <a:p>
                      <a:pPr algn="ctr" fontAlgn="ctr"/>
                      <a:r>
                        <a:rPr lang="en-CH" sz="600" b="0" i="0" u="none" strike="noStrike">
                          <a:solidFill>
                            <a:schemeClr val="tx1"/>
                          </a:solidFill>
                          <a:effectLst/>
                          <a:latin typeface="Nexa Book"/>
                        </a:rPr>
                        <a:t> €      5.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63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8%</a:t>
                      </a:r>
                    </a:p>
                  </a:txBody>
                  <a:tcPr marL="2858" marR="2858" marT="2858" marB="0" anchor="ctr">
                    <a:noFill/>
                  </a:tcPr>
                </a:tc>
                <a:tc>
                  <a:txBody>
                    <a:bodyPr/>
                    <a:lstStyle/>
                    <a:p>
                      <a:pPr algn="ctr" fontAlgn="ctr"/>
                      <a:r>
                        <a:rPr lang="en-CH" sz="600" b="0" i="0" u="none" strike="noStrike">
                          <a:solidFill>
                            <a:schemeClr val="tx1"/>
                          </a:solidFill>
                          <a:effectLst/>
                          <a:latin typeface="Nexa Book"/>
                        </a:rPr>
                        <a:t>11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54</a:t>
                      </a:r>
                    </a:p>
                  </a:txBody>
                  <a:tcPr marL="2858" marR="2858" marT="2858" marB="0" anchor="ctr">
                    <a:noFill/>
                  </a:tcPr>
                </a:tc>
                <a:tc>
                  <a:txBody>
                    <a:bodyPr/>
                    <a:lstStyle/>
                    <a:p>
                      <a:pPr algn="ctr" fontAlgn="ctr"/>
                      <a:r>
                        <a:rPr lang="en-CH" sz="600" b="0" i="0" u="none" strike="noStrike">
                          <a:solidFill>
                            <a:schemeClr val="tx1"/>
                          </a:solidFill>
                          <a:effectLst/>
                          <a:latin typeface="Nexa Book"/>
                        </a:rPr>
                        <a:t>2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fontAlgn="ctr"/>
                      <a:r>
                        <a:rPr lang="fr-CH" sz="600" b="0" i="0" u="none" strike="noStrike">
                          <a:solidFill>
                            <a:schemeClr val="tx1"/>
                          </a:solidFill>
                          <a:effectLst/>
                          <a:latin typeface="Nexa Book"/>
                        </a:rPr>
                        <a:t>Pescanova S.A.</a:t>
                      </a: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a:t>
                      </a:r>
                      <a:r>
                        <a:rPr lang="fr-CH" sz="600" b="0" i="0" u="none" strike="noStrike" dirty="0" err="1">
                          <a:solidFill>
                            <a:schemeClr val="tx1"/>
                          </a:solidFill>
                          <a:effectLst/>
                          <a:latin typeface="Nexa Book"/>
                        </a:rPr>
                        <a:t>S.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Polpi</a:t>
                      </a:r>
                      <a:r>
                        <a:rPr lang="fr-CH" sz="600" b="0" i="0" u="none" strike="noStrike" dirty="0">
                          <a:solidFill>
                            <a:schemeClr val="tx1"/>
                          </a:solidFill>
                          <a:effectLst/>
                          <a:latin typeface="Nexa Book"/>
                        </a:rPr>
                        <a:t> 1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57%</a:t>
                      </a:r>
                    </a:p>
                  </a:txBody>
                  <a:tcPr marL="2858" marR="2858" marT="2858" marB="0" anchor="ctr">
                    <a:noFill/>
                  </a:tcPr>
                </a:tc>
                <a:tc>
                  <a:txBody>
                    <a:bodyPr/>
                    <a:lstStyle/>
                    <a:p>
                      <a:pPr algn="ctr" fontAlgn="ctr"/>
                      <a:r>
                        <a:rPr lang="en-CH" sz="600" b="0" i="0" u="none" strike="noStrike">
                          <a:solidFill>
                            <a:schemeClr val="tx1"/>
                          </a:solidFill>
                          <a:effectLst/>
                          <a:latin typeface="Nexa Book"/>
                        </a:rPr>
                        <a:t> €   16.2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0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28’53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16%</a:t>
                      </a:r>
                    </a:p>
                  </a:txBody>
                  <a:tcPr marL="2858" marR="2858" marT="2858" marB="0" anchor="ctr">
                    <a:noFill/>
                  </a:tcPr>
                </a:tc>
                <a:tc>
                  <a:txBody>
                    <a:bodyPr/>
                    <a:lstStyle/>
                    <a:p>
                      <a:pPr algn="ctr" fontAlgn="ctr"/>
                      <a:r>
                        <a:rPr lang="en-CH" sz="600" b="0" i="0" u="none" strike="noStrike">
                          <a:solidFill>
                            <a:schemeClr val="tx1"/>
                          </a:solidFill>
                          <a:effectLst/>
                          <a:latin typeface="Nexa Book"/>
                        </a:rPr>
                        <a:t>14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5543</a:t>
                      </a:r>
                    </a:p>
                  </a:txBody>
                  <a:tcPr marL="2858" marR="2858" marT="2858" marB="0" anchor="ctr">
                    <a:noFill/>
                  </a:tcPr>
                </a:tc>
                <a:tc>
                  <a:txBody>
                    <a:bodyPr/>
                    <a:lstStyle/>
                    <a:p>
                      <a:pPr algn="ctr" fontAlgn="ctr"/>
                      <a:r>
                        <a:rPr lang="en-CH" sz="600" b="0" i="0" u="none" strike="noStrike">
                          <a:solidFill>
                            <a:schemeClr val="tx1"/>
                          </a:solidFill>
                          <a:effectLst/>
                          <a:latin typeface="Nexa Book"/>
                        </a:rPr>
                        <a:t>28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Mazzancolle</a:t>
                      </a:r>
                      <a:r>
                        <a:rPr lang="fr-CH" sz="600" b="0" i="0" u="none" strike="noStrike">
                          <a:solidFill>
                            <a:schemeClr val="tx1"/>
                          </a:solidFill>
                          <a:effectLst/>
                          <a:latin typeface="Nexa Book"/>
                        </a:rPr>
                        <a:t>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5.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9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1’9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9%</a:t>
                      </a:r>
                    </a:p>
                  </a:txBody>
                  <a:tcPr marL="2858" marR="2858" marT="2858" marB="0" anchor="ctr">
                    <a:noFill/>
                  </a:tcPr>
                </a:tc>
                <a:tc>
                  <a:txBody>
                    <a:bodyPr/>
                    <a:lstStyle/>
                    <a:p>
                      <a:pPr algn="ctr" fontAlgn="ctr"/>
                      <a:r>
                        <a:rPr lang="en-CH" sz="600" b="0" i="0" u="none" strike="noStrike">
                          <a:solidFill>
                            <a:schemeClr val="tx1"/>
                          </a:solidFill>
                          <a:effectLst/>
                          <a:latin typeface="Nexa Book"/>
                        </a:rPr>
                        <a:t>79%</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75435</a:t>
                      </a:r>
                    </a:p>
                  </a:txBody>
                  <a:tcPr marL="2858" marR="2858" marT="2858" marB="0" anchor="ctr">
                    <a:noFill/>
                  </a:tcPr>
                </a:tc>
                <a:tc>
                  <a:txBody>
                    <a:bodyPr/>
                    <a:lstStyle/>
                    <a:p>
                      <a:pPr algn="ctr" fontAlgn="ctr"/>
                      <a:r>
                        <a:rPr lang="en-CH" sz="600" b="0" i="0" u="none" strike="noStrike">
                          <a:solidFill>
                            <a:schemeClr val="tx1"/>
                          </a:solidFill>
                          <a:effectLst/>
                          <a:latin typeface="Nexa Book"/>
                        </a:rPr>
                        <a:t>24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it-IT" sz="600" b="0" i="0" u="none" strike="noStrike">
                          <a:solidFill>
                            <a:schemeClr val="tx1"/>
                          </a:solidFill>
                          <a:effectLst/>
                          <a:latin typeface="Nexa Book"/>
                        </a:rPr>
                        <a:t>Arbi Dario Spa Misto Scoglio Bianco 4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 €      5.1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6’9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28%</a:t>
                      </a:r>
                    </a:p>
                  </a:txBody>
                  <a:tcPr marL="2858" marR="2858" marT="2858" marB="0" anchor="ctr">
                    <a:noFill/>
                  </a:tcPr>
                </a:tc>
                <a:tc>
                  <a:txBody>
                    <a:bodyPr/>
                    <a:lstStyle/>
                    <a:p>
                      <a:pPr algn="ctr" fontAlgn="ctr"/>
                      <a:r>
                        <a:rPr lang="en-CH" sz="600" b="0" i="0" u="none" strike="noStrike">
                          <a:solidFill>
                            <a:schemeClr val="tx1"/>
                          </a:solidFill>
                          <a:effectLst/>
                          <a:latin typeface="Nexa Book"/>
                        </a:rPr>
                        <a:t>18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135</a:t>
                      </a:r>
                    </a:p>
                  </a:txBody>
                  <a:tcPr marL="2858" marR="2858" marT="2858" marB="0" anchor="ctr">
                    <a:noFill/>
                  </a:tcPr>
                </a:tc>
                <a:tc>
                  <a:txBody>
                    <a:bodyPr/>
                    <a:lstStyle/>
                    <a:p>
                      <a:pPr algn="ctr" fontAlgn="ctr"/>
                      <a:r>
                        <a:rPr lang="en-CH" sz="600" b="0" i="0" u="none" strike="noStrike">
                          <a:solidFill>
                            <a:schemeClr val="tx1"/>
                          </a:solidFill>
                          <a:effectLst/>
                          <a:latin typeface="Nexa Book"/>
                        </a:rPr>
                        <a:t>22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8%</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algn="ctr" fontAlgn="ctr"/>
                      <a:r>
                        <a:rPr lang="en-CH" sz="600" b="0" i="0" u="none" strike="noStrike">
                          <a:solidFill>
                            <a:schemeClr val="tx1"/>
                          </a:solidFill>
                          <a:effectLst/>
                          <a:latin typeface="Nexa Book"/>
                        </a:rPr>
                        <a:t> €   14.5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2’34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261%</a:t>
                      </a:r>
                    </a:p>
                  </a:txBody>
                  <a:tcPr marL="2858" marR="2858" marT="2858" marB="0" anchor="ctr">
                    <a:noFill/>
                  </a:tcPr>
                </a:tc>
                <a:tc>
                  <a:txBody>
                    <a:bodyPr/>
                    <a:lstStyle/>
                    <a:p>
                      <a:pPr algn="ctr" fontAlgn="ctr"/>
                      <a:r>
                        <a:rPr lang="en-CH" sz="600" b="0" i="0" u="none" strike="noStrike">
                          <a:solidFill>
                            <a:schemeClr val="tx1"/>
                          </a:solidFill>
                          <a:effectLst/>
                          <a:latin typeface="Nexa Book"/>
                        </a:rPr>
                        <a:t>37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34</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fontAlgn="ctr"/>
                      <a:r>
                        <a:rPr lang="fr-CH" sz="600" b="0" i="0" u="none" strike="noStrike">
                          <a:solidFill>
                            <a:schemeClr val="tx1"/>
                          </a:solidFill>
                          <a:effectLst/>
                          <a:latin typeface="Nexa Book"/>
                        </a:rPr>
                        <a:t>Fandicost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it-IT" sz="600" b="0" i="0" u="none" strike="noStrike" dirty="0">
                          <a:solidFill>
                            <a:schemeClr val="tx1"/>
                          </a:solidFill>
                          <a:effectLst/>
                          <a:latin typeface="Nexa Book"/>
                        </a:rPr>
                        <a:t>Fandicosta Fillets Nasello Bk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0%</a:t>
                      </a:r>
                    </a:p>
                  </a:txBody>
                  <a:tcPr marL="2858" marR="2858" marT="2858" marB="0" anchor="ctr">
                    <a:noFill/>
                  </a:tcPr>
                </a:tc>
                <a:tc>
                  <a:txBody>
                    <a:bodyPr/>
                    <a:lstStyle/>
                    <a:p>
                      <a:pPr algn="ctr" fontAlgn="ctr"/>
                      <a:r>
                        <a:rPr lang="en-CH" sz="600" b="0" i="0" u="none" strike="noStrike">
                          <a:solidFill>
                            <a:schemeClr val="tx1"/>
                          </a:solidFill>
                          <a:effectLst/>
                          <a:latin typeface="Nexa Book"/>
                        </a:rPr>
                        <a:t> €      5.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3’55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6%</a:t>
                      </a: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35</a:t>
                      </a:r>
                    </a:p>
                  </a:txBody>
                  <a:tcPr marL="2858" marR="2858" marT="2858" marB="0" anchor="ctr">
                    <a:noFill/>
                  </a:tcPr>
                </a:tc>
                <a:tc>
                  <a:txBody>
                    <a:bodyPr/>
                    <a:lstStyle/>
                    <a:p>
                      <a:pPr algn="ctr" fontAlgn="ctr"/>
                      <a:r>
                        <a:rPr lang="en-CH" sz="600" b="0" i="0" u="none" strike="noStrike">
                          <a:solidFill>
                            <a:schemeClr val="tx1"/>
                          </a:solidFill>
                          <a:effectLst/>
                          <a:latin typeface="Nexa Book"/>
                        </a:rPr>
                        <a:t>216%</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D Alaska Chips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35%</a:t>
                      </a:r>
                    </a:p>
                  </a:txBody>
                  <a:tcPr marL="2858" marR="2858" marT="2858" marB="0" anchor="ctr">
                    <a:noFill/>
                  </a:tcPr>
                </a:tc>
                <a:tc>
                  <a:txBody>
                    <a:bodyPr/>
                    <a:lstStyle/>
                    <a:p>
                      <a:pPr algn="ctr" fontAlgn="ctr"/>
                      <a:r>
                        <a:rPr lang="en-CH" sz="600" b="0" i="0" u="none" strike="noStrike">
                          <a:solidFill>
                            <a:schemeClr val="tx1"/>
                          </a:solidFill>
                          <a:effectLst/>
                          <a:latin typeface="Nexa Book"/>
                        </a:rPr>
                        <a:t> €      3.4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7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8’02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1%</a:t>
                      </a:r>
                    </a:p>
                  </a:txBody>
                  <a:tcPr marL="2858" marR="2858" marT="2858" marB="0" anchor="ctr">
                    <a:noFill/>
                  </a:tcPr>
                </a:tc>
                <a:tc>
                  <a:txBody>
                    <a:bodyPr/>
                    <a:lstStyle/>
                    <a:p>
                      <a:pPr algn="ctr" fontAlgn="ctr"/>
                      <a:r>
                        <a:rPr lang="en-CH" sz="600" b="0" i="0" u="none" strike="noStrike">
                          <a:solidFill>
                            <a:schemeClr val="tx1"/>
                          </a:solidFill>
                          <a:effectLst/>
                          <a:latin typeface="Nexa Book"/>
                        </a:rPr>
                        <a:t>94%</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535</a:t>
                      </a:r>
                    </a:p>
                  </a:txBody>
                  <a:tcPr marL="2858" marR="2858" marT="2858" marB="0" anchor="ctr">
                    <a:noFill/>
                  </a:tcPr>
                </a:tc>
                <a:tc>
                  <a:txBody>
                    <a:bodyPr/>
                    <a:lstStyle/>
                    <a:p>
                      <a:pPr algn="ctr" fontAlgn="ctr"/>
                      <a:r>
                        <a:rPr lang="en-CH" sz="600" b="0" i="0" u="none" strike="noStrike">
                          <a:solidFill>
                            <a:schemeClr val="tx1"/>
                          </a:solidFill>
                          <a:effectLst/>
                          <a:latin typeface="Nexa Book"/>
                        </a:rPr>
                        <a:t>20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llets Merluzzo Bk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7%</a:t>
                      </a:r>
                    </a:p>
                  </a:txBody>
                  <a:tcPr marL="2858" marR="2858" marT="2858" marB="0" anchor="ctr">
                    <a:noFill/>
                  </a:tcPr>
                </a:tc>
                <a:tc>
                  <a:txBody>
                    <a:bodyPr/>
                    <a:lstStyle/>
                    <a:p>
                      <a:pPr algn="ctr" fontAlgn="ctr"/>
                      <a:r>
                        <a:rPr lang="en-CH" sz="600" b="0" i="0" u="none" strike="noStrike">
                          <a:solidFill>
                            <a:schemeClr val="tx1"/>
                          </a:solidFill>
                          <a:effectLst/>
                          <a:latin typeface="Nexa Book"/>
                        </a:rPr>
                        <a:t>37%</a:t>
                      </a:r>
                    </a:p>
                  </a:txBody>
                  <a:tcPr marL="2858" marR="2858" marT="2858" marB="0" anchor="ctr">
                    <a:noFill/>
                  </a:tcPr>
                </a:tc>
                <a:tc>
                  <a:txBody>
                    <a:bodyPr/>
                    <a:lstStyle/>
                    <a:p>
                      <a:pPr algn="ctr" fontAlgn="ctr"/>
                      <a:r>
                        <a:rPr lang="en-CH" sz="600" b="0" i="0" u="none" strike="noStrike">
                          <a:solidFill>
                            <a:schemeClr val="tx1"/>
                          </a:solidFill>
                          <a:effectLst/>
                          <a:latin typeface="Nexa Book"/>
                        </a:rPr>
                        <a:t> €      4.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8’3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33%</a:t>
                      </a: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835</a:t>
                      </a:r>
                    </a:p>
                  </a:txBody>
                  <a:tcPr marL="2858" marR="2858" marT="2858" marB="0" anchor="ctr">
                    <a:noFill/>
                  </a:tcPr>
                </a:tc>
                <a:tc>
                  <a:txBody>
                    <a:bodyPr/>
                    <a:lstStyle/>
                    <a:p>
                      <a:pPr algn="ctr" fontAlgn="ctr"/>
                      <a:r>
                        <a:rPr lang="en-CH" sz="600" b="0" i="0" u="none" strike="noStrike">
                          <a:solidFill>
                            <a:schemeClr val="tx1"/>
                          </a:solidFill>
                          <a:effectLst/>
                          <a:latin typeface="Nexa Book"/>
                        </a:rPr>
                        <a:t>204%</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atinata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5%</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3.0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2’02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81%</a:t>
                      </a:r>
                    </a:p>
                  </a:txBody>
                  <a:tcPr marL="2858" marR="2858" marT="2858" marB="0" anchor="ctr">
                    <a:noFill/>
                  </a:tcPr>
                </a:tc>
                <a:tc>
                  <a:txBody>
                    <a:bodyPr/>
                    <a:lstStyle/>
                    <a:p>
                      <a:pPr algn="ctr" fontAlgn="ctr"/>
                      <a:r>
                        <a:rPr lang="en-CH" sz="600" b="0" i="0" u="none" strike="noStrike">
                          <a:solidFill>
                            <a:schemeClr val="tx1"/>
                          </a:solidFill>
                          <a:effectLst/>
                          <a:latin typeface="Nexa Book"/>
                        </a:rPr>
                        <a:t>26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4035</a:t>
                      </a:r>
                    </a:p>
                  </a:txBody>
                  <a:tcPr marL="2858" marR="2858" marT="2858" marB="0" anchor="ctr">
                    <a:noFill/>
                  </a:tcPr>
                </a:tc>
                <a:tc>
                  <a:txBody>
                    <a:bodyPr/>
                    <a:lstStyle/>
                    <a:p>
                      <a:pPr algn="ctr" fontAlgn="ctr"/>
                      <a:r>
                        <a:rPr lang="en-CH" sz="600" b="0" i="0" u="none" strike="noStrike">
                          <a:solidFill>
                            <a:schemeClr val="tx1"/>
                          </a:solidFill>
                          <a:effectLst/>
                          <a:latin typeface="Nexa Book"/>
                        </a:rPr>
                        <a:t>201%</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Pollack Alaska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31%</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3.81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7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4%</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3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9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igliato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39%</a:t>
                      </a: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5’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19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Gamberetti 2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4.8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4’85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8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3</a:t>
                      </a:r>
                    </a:p>
                  </a:txBody>
                  <a:tcPr marL="2858" marR="2858" marT="2858" marB="0" anchor="ctr">
                    <a:noFill/>
                  </a:tcPr>
                </a:tc>
                <a:tc>
                  <a:txBody>
                    <a:bodyPr/>
                    <a:lstStyle/>
                    <a:p>
                      <a:pPr algn="ctr" fontAlgn="ctr"/>
                      <a:r>
                        <a:rPr lang="en-CH" sz="600" b="0" i="0" u="none" strike="noStrike">
                          <a:solidFill>
                            <a:schemeClr val="tx1"/>
                          </a:solidFill>
                          <a:effectLst/>
                          <a:latin typeface="Nexa Book"/>
                        </a:rPr>
                        <a:t>1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Standard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4%</a:t>
                      </a:r>
                    </a:p>
                  </a:txBody>
                  <a:tcPr marL="2858" marR="2858" marT="2858" marB="0" anchor="ctr">
                    <a:noFill/>
                  </a:tcPr>
                </a:tc>
                <a:tc>
                  <a:txBody>
                    <a:bodyPr/>
                    <a:lstStyle/>
                    <a:p>
                      <a:pPr algn="ctr" fontAlgn="ctr"/>
                      <a:r>
                        <a:rPr lang="en-CH" sz="600" b="0" i="0" u="none" strike="noStrike">
                          <a:solidFill>
                            <a:schemeClr val="tx1"/>
                          </a:solidFill>
                          <a:effectLst/>
                          <a:latin typeface="Nexa Book"/>
                        </a:rPr>
                        <a:t> €      3.3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6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28’888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Fish Fingers Merluzzo 7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9%</a:t>
                      </a:r>
                    </a:p>
                  </a:txBody>
                  <a:tcPr marL="2858" marR="2858" marT="2858" marB="0" anchor="ctr">
                    <a:noFill/>
                  </a:tcPr>
                </a:tc>
                <a:tc>
                  <a:txBody>
                    <a:bodyPr/>
                    <a:lstStyle/>
                    <a:p>
                      <a:pPr algn="ctr" fontAlgn="ctr"/>
                      <a:r>
                        <a:rPr lang="en-CH" sz="600" b="0" i="0" u="none" strike="noStrike">
                          <a:solidFill>
                            <a:schemeClr val="tx1"/>
                          </a:solidFill>
                          <a:effectLst/>
                          <a:latin typeface="Nexa Book"/>
                        </a:rPr>
                        <a:t>60%</a:t>
                      </a:r>
                    </a:p>
                  </a:txBody>
                  <a:tcPr marL="2858" marR="2858" marT="2858" marB="0" anchor="ctr">
                    <a:noFill/>
                  </a:tcPr>
                </a:tc>
                <a:tc>
                  <a:txBody>
                    <a:bodyPr/>
                    <a:lstStyle/>
                    <a:p>
                      <a:pPr algn="ctr" fontAlgn="ctr"/>
                      <a:r>
                        <a:rPr lang="en-CH" sz="600" b="0" i="0" u="none" strike="noStrike">
                          <a:solidFill>
                            <a:schemeClr val="tx1"/>
                          </a:solidFill>
                          <a:effectLst/>
                          <a:latin typeface="Nexa Book"/>
                        </a:rPr>
                        <a:t> €      7.2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1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85’3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63%</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a:solidFill>
                            <a:schemeClr val="tx1"/>
                          </a:solidFill>
                          <a:effectLst/>
                          <a:latin typeface="Nexa Book"/>
                        </a:rPr>
                        <a:t>58%</a:t>
                      </a:r>
                    </a:p>
                  </a:txBody>
                  <a:tcPr marL="2858" marR="2858" marT="2858" marB="0" anchor="ctr">
                    <a:noFill/>
                  </a:tcPr>
                </a:tc>
                <a:tc>
                  <a:txBody>
                    <a:bodyPr/>
                    <a:lstStyle/>
                    <a:p>
                      <a:pPr algn="ctr" fontAlgn="ctr"/>
                      <a:r>
                        <a:rPr lang="en-CH" sz="600" b="0" i="0" u="none" strike="noStrike">
                          <a:solidFill>
                            <a:schemeClr val="tx1"/>
                          </a:solidFill>
                          <a:effectLst/>
                          <a:latin typeface="Nexa Book"/>
                        </a:rPr>
                        <a:t> €      7.3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6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81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a:t>
                      </a:r>
                    </a:p>
                  </a:txBody>
                  <a:tcPr marL="2858" marR="2858" marT="2858" marB="0" anchor="ctr">
                    <a:noFill/>
                  </a:tcPr>
                </a:tc>
                <a:tc>
                  <a:txBody>
                    <a:bodyPr/>
                    <a:lstStyle/>
                    <a:p>
                      <a:pPr algn="ctr" fontAlgn="ctr"/>
                      <a:r>
                        <a:rPr lang="en-CH" sz="600" b="0" i="0" u="none" strike="noStrike">
                          <a:solidFill>
                            <a:schemeClr val="tx1"/>
                          </a:solidFill>
                          <a:effectLst/>
                          <a:latin typeface="Nexa Book"/>
                        </a:rPr>
                        <a:t>18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sh Fingers Merluzzo Bk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49%</a:t>
                      </a:r>
                    </a:p>
                  </a:txBody>
                  <a:tcPr marL="2858" marR="2858" marT="2858" marB="0" anchor="ctr">
                    <a:noFill/>
                  </a:tcPr>
                </a:tc>
                <a:tc>
                  <a:txBody>
                    <a:bodyPr/>
                    <a:lstStyle/>
                    <a:p>
                      <a:pPr algn="ctr" fontAlgn="ctr"/>
                      <a:r>
                        <a:rPr lang="en-CH" sz="600" b="0" i="0" u="none" strike="noStrike">
                          <a:solidFill>
                            <a:schemeClr val="tx1"/>
                          </a:solidFill>
                          <a:effectLst/>
                          <a:latin typeface="Nexa Book"/>
                        </a:rPr>
                        <a:t> €      2.3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9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0’82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9</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Salmone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4.0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6’2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92%</a:t>
                      </a:r>
                    </a:p>
                  </a:txBody>
                  <a:tcPr marL="2858" marR="2858" marT="2858" marB="0" anchor="ctr">
                    <a:noFill/>
                  </a:tcPr>
                </a:tc>
                <a:tc>
                  <a:txBody>
                    <a:bodyPr/>
                    <a:lstStyle/>
                    <a:p>
                      <a:pPr algn="ctr" fontAlgn="ctr"/>
                      <a:r>
                        <a:rPr lang="en-CH" sz="600" b="0" i="0" u="none" strike="noStrike">
                          <a:solidFill>
                            <a:schemeClr val="tx1"/>
                          </a:solidFill>
                          <a:effectLst/>
                          <a:latin typeface="Nexa Book"/>
                        </a:rPr>
                        <a:t>136%</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4%</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Mazzancolle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9%</a:t>
                      </a:r>
                    </a:p>
                  </a:txBody>
                  <a:tcPr marL="2858" marR="2858" marT="2858" marB="0" anchor="ctr">
                    <a:noFill/>
                  </a:tcPr>
                </a:tc>
                <a:tc>
                  <a:txBody>
                    <a:bodyPr/>
                    <a:lstStyle/>
                    <a:p>
                      <a:pPr algn="ctr" fontAlgn="ctr"/>
                      <a:r>
                        <a:rPr lang="en-CH" sz="600" b="0" i="0" u="none" strike="noStrike">
                          <a:solidFill>
                            <a:schemeClr val="tx1"/>
                          </a:solidFill>
                          <a:effectLst/>
                          <a:latin typeface="Nexa Book"/>
                        </a:rPr>
                        <a:t>38%</a:t>
                      </a:r>
                    </a:p>
                  </a:txBody>
                  <a:tcPr marL="2858" marR="2858" marT="2858" marB="0" anchor="ctr">
                    <a:noFill/>
                  </a:tcPr>
                </a:tc>
                <a:tc>
                  <a:txBody>
                    <a:bodyPr/>
                    <a:lstStyle/>
                    <a:p>
                      <a:pPr algn="ctr" fontAlgn="ctr"/>
                      <a:r>
                        <a:rPr lang="en-CH" sz="600" b="0" i="0" u="none" strike="noStrike">
                          <a:solidFill>
                            <a:schemeClr val="tx1"/>
                          </a:solidFill>
                          <a:effectLst/>
                          <a:latin typeface="Nexa Book"/>
                        </a:rPr>
                        <a:t> €      7.1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7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40’6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48%</a:t>
                      </a:r>
                    </a:p>
                  </a:txBody>
                  <a:tcPr marL="2858" marR="2858" marT="2858" marB="0" anchor="ctr">
                    <a:noFill/>
                  </a:tcPr>
                </a:tc>
                <a:tc>
                  <a:txBody>
                    <a:bodyPr/>
                    <a:lstStyle/>
                    <a:p>
                      <a:pPr algn="ctr" fontAlgn="ctr"/>
                      <a:r>
                        <a:rPr lang="en-CH" sz="600" b="0" i="0" u="none" strike="noStrike">
                          <a:solidFill>
                            <a:schemeClr val="tx1"/>
                          </a:solidFill>
                          <a:effectLst/>
                          <a:latin typeface="Nexa Book"/>
                        </a:rPr>
                        <a:t>7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82</a:t>
                      </a:r>
                    </a:p>
                  </a:txBody>
                  <a:tcPr marL="2858" marR="2858" marT="2858" marB="0" anchor="ctr">
                    <a:noFill/>
                  </a:tcPr>
                </a:tc>
                <a:tc>
                  <a:txBody>
                    <a:bodyPr/>
                    <a:lstStyle/>
                    <a:p>
                      <a:pPr algn="ctr" fontAlgn="ctr"/>
                      <a:r>
                        <a:rPr lang="en-CH" sz="600" b="0" i="0" u="none" strike="noStrike">
                          <a:solidFill>
                            <a:schemeClr val="tx1"/>
                          </a:solidFill>
                          <a:effectLst/>
                          <a:latin typeface="Nexa Book"/>
                        </a:rPr>
                        <a:t>182%</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fr-CH" sz="600" b="0" i="0" u="none" strike="noStrike">
                          <a:solidFill>
                            <a:schemeClr val="tx1"/>
                          </a:solidFill>
                          <a:effectLst/>
                          <a:latin typeface="Nexa Book"/>
                        </a:rPr>
                        <a:t>Arbi Dario Spa Fish Salsa Crostace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4’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90</a:t>
                      </a:r>
                    </a:p>
                  </a:txBody>
                  <a:tcPr marL="2858" marR="2858" marT="2858" marB="0" anchor="ctr">
                    <a:noFill/>
                  </a:tcPr>
                </a:tc>
                <a:tc>
                  <a:txBody>
                    <a:bodyPr/>
                    <a:lstStyle/>
                    <a:p>
                      <a:pPr algn="ctr" fontAlgn="ctr"/>
                      <a:r>
                        <a:rPr lang="en-CH" sz="600" b="0" i="0" u="none" strike="noStrike">
                          <a:solidFill>
                            <a:schemeClr val="tx1"/>
                          </a:solidFill>
                          <a:effectLst/>
                          <a:latin typeface="Nexa Book"/>
                        </a:rPr>
                        <a:t>17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38065924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6C832E98-8678-A693-5643-768C58A832B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6C832E98-8678-A693-5643-768C58A832B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D64701B2-2460-45D5-865F-3FB4D1BD3AB0}" type="datetime1">
              <a:rPr lang="en-US"/>
              <a:pPr/>
              <a:t>1/27/2025</a:t>
            </a:fld>
            <a:endParaRPr lang="en-US"/>
          </a:p>
        </p:txBody>
      </p:sp>
      <p:sp>
        <p:nvSpPr>
          <p:cNvPr id="12" name="Footer Placeholder 11">
            <a:extLst>
              <a:ext uri="{FF2B5EF4-FFF2-40B4-BE49-F238E27FC236}">
                <a16:creationId xmlns:a16="http://schemas.microsoft.com/office/drawing/2014/main" id="{7BE67518-82EE-BCF7-A57F-695B8A635C15}"/>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9274C1D-4570-8715-ED07-3FEB8DF0862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rPr lang="en-US"/>
              <a:t>Data Source | Trade Panel | Ending October 2022</a:t>
            </a:r>
            <a:endParaRPr lang="en-GB"/>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r>
              <a:rPr lang="en-US"/>
              <a:t>Bottom 20 Promotions By Value and Incremental | Carrefour | Findu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r>
              <a:rPr lang="en-US" dirty="0">
                <a:highlight>
                  <a:srgbClr val="FFFF00"/>
                </a:highlight>
              </a:rPr>
              <a:t>Bottom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9884"/>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C8526F18-9B48-AA97-5928-5A2BA7578A65}"/>
              </a:ext>
            </a:extLst>
          </p:cNvPr>
          <p:cNvGraphicFramePr>
            <a:graphicFrameLocks noGrp="1"/>
          </p:cNvGraphicFramePr>
          <p:nvPr>
            <p:extLst>
              <p:ext uri="{D42A27DB-BD31-4B8C-83A1-F6EECF244321}">
                <p14:modId xmlns:p14="http://schemas.microsoft.com/office/powerpoint/2010/main" val="1625795460"/>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helf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Value</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ncr Value</a:t>
                      </a:r>
                      <a:endParaRPr lang="en-US" sz="1800"/>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ale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S.A.</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fontAlgn="ctr"/>
                      <a:r>
                        <a:rPr lang="fr-CH" sz="600" b="0" i="0" u="none" strike="noStrike">
                          <a:solidFill>
                            <a:schemeClr val="tx1"/>
                          </a:solidFill>
                          <a:effectLst/>
                          <a:latin typeface="Nexa Book"/>
                        </a:rPr>
                        <a:t>Pescanova S.a. Natural Gamberi 2000GR</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25.11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19.97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709’013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lvl="0" algn="ctr">
                        <a:buNone/>
                      </a:pPr>
                      <a:r>
                        <a:rPr lang="en-CH" sz="600" b="0" i="0" u="none" strike="noStrike">
                          <a:solidFill>
                            <a:schemeClr val="tx1"/>
                          </a:solidFill>
                          <a:effectLst/>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Totani</a:t>
                      </a:r>
                      <a:r>
                        <a:rPr lang="fr-CH" sz="600" b="0" i="0" u="none" strike="noStrike" dirty="0">
                          <a:solidFill>
                            <a:schemeClr val="tx1"/>
                          </a:solidFill>
                          <a:effectLst/>
                          <a:latin typeface="Nexa Book"/>
                        </a:rPr>
                        <a:t>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2%</a:t>
                      </a:r>
                    </a:p>
                  </a:txBody>
                  <a:tcPr marL="2858" marR="2858" marT="2858" marB="0" anchor="ctr">
                    <a:noFill/>
                  </a:tcPr>
                </a:tc>
                <a:tc>
                  <a:txBody>
                    <a:bodyPr/>
                    <a:lstStyle/>
                    <a:p>
                      <a:pPr algn="ctr" fontAlgn="ctr"/>
                      <a:r>
                        <a:rPr lang="en-CH" sz="600" b="0" i="0" u="none" strike="noStrike">
                          <a:solidFill>
                            <a:schemeClr val="tx1"/>
                          </a:solidFill>
                          <a:effectLst/>
                          <a:latin typeface="Nexa Book"/>
                        </a:rPr>
                        <a:t> €      5.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63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8%</a:t>
                      </a:r>
                    </a:p>
                  </a:txBody>
                  <a:tcPr marL="2858" marR="2858" marT="2858" marB="0" anchor="ctr">
                    <a:noFill/>
                  </a:tcPr>
                </a:tc>
                <a:tc>
                  <a:txBody>
                    <a:bodyPr/>
                    <a:lstStyle/>
                    <a:p>
                      <a:pPr algn="ctr" fontAlgn="ctr"/>
                      <a:r>
                        <a:rPr lang="en-CH" sz="600" b="0" i="0" u="none" strike="noStrike">
                          <a:solidFill>
                            <a:schemeClr val="tx1"/>
                          </a:solidFill>
                          <a:effectLst/>
                          <a:latin typeface="Nexa Book"/>
                        </a:rPr>
                        <a:t>11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54</a:t>
                      </a:r>
                    </a:p>
                  </a:txBody>
                  <a:tcPr marL="2858" marR="2858" marT="2858" marB="0" anchor="ctr">
                    <a:noFill/>
                  </a:tcPr>
                </a:tc>
                <a:tc>
                  <a:txBody>
                    <a:bodyPr/>
                    <a:lstStyle/>
                    <a:p>
                      <a:pPr algn="ctr" fontAlgn="ctr"/>
                      <a:r>
                        <a:rPr lang="en-CH" sz="600" b="0" i="0" u="none" strike="noStrike">
                          <a:solidFill>
                            <a:schemeClr val="tx1"/>
                          </a:solidFill>
                          <a:effectLst/>
                          <a:latin typeface="Nexa Book"/>
                        </a:rPr>
                        <a:t>2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fontAlgn="ctr"/>
                      <a:r>
                        <a:rPr lang="fr-CH" sz="600" b="0" i="0" u="none" strike="noStrike">
                          <a:solidFill>
                            <a:schemeClr val="tx1"/>
                          </a:solidFill>
                          <a:effectLst/>
                          <a:latin typeface="Nexa Book"/>
                        </a:rPr>
                        <a:t>Pescanova S.A.</a:t>
                      </a: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a:t>
                      </a:r>
                      <a:r>
                        <a:rPr lang="fr-CH" sz="600" b="0" i="0" u="none" strike="noStrike" dirty="0" err="1">
                          <a:solidFill>
                            <a:schemeClr val="tx1"/>
                          </a:solidFill>
                          <a:effectLst/>
                          <a:latin typeface="Nexa Book"/>
                        </a:rPr>
                        <a:t>S.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Polpi</a:t>
                      </a:r>
                      <a:r>
                        <a:rPr lang="fr-CH" sz="600" b="0" i="0" u="none" strike="noStrike" dirty="0">
                          <a:solidFill>
                            <a:schemeClr val="tx1"/>
                          </a:solidFill>
                          <a:effectLst/>
                          <a:latin typeface="Nexa Book"/>
                        </a:rPr>
                        <a:t> 1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57%</a:t>
                      </a:r>
                    </a:p>
                  </a:txBody>
                  <a:tcPr marL="2858" marR="2858" marT="2858" marB="0" anchor="ctr">
                    <a:noFill/>
                  </a:tcPr>
                </a:tc>
                <a:tc>
                  <a:txBody>
                    <a:bodyPr/>
                    <a:lstStyle/>
                    <a:p>
                      <a:pPr algn="ctr" fontAlgn="ctr"/>
                      <a:r>
                        <a:rPr lang="en-CH" sz="600" b="0" i="0" u="none" strike="noStrike">
                          <a:solidFill>
                            <a:schemeClr val="tx1"/>
                          </a:solidFill>
                          <a:effectLst/>
                          <a:latin typeface="Nexa Book"/>
                        </a:rPr>
                        <a:t> €   16.2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0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28’53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16%</a:t>
                      </a:r>
                    </a:p>
                  </a:txBody>
                  <a:tcPr marL="2858" marR="2858" marT="2858" marB="0" anchor="ctr">
                    <a:noFill/>
                  </a:tcPr>
                </a:tc>
                <a:tc>
                  <a:txBody>
                    <a:bodyPr/>
                    <a:lstStyle/>
                    <a:p>
                      <a:pPr algn="ctr" fontAlgn="ctr"/>
                      <a:r>
                        <a:rPr lang="en-CH" sz="600" b="0" i="0" u="none" strike="noStrike">
                          <a:solidFill>
                            <a:schemeClr val="tx1"/>
                          </a:solidFill>
                          <a:effectLst/>
                          <a:latin typeface="Nexa Book"/>
                        </a:rPr>
                        <a:t>14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5543</a:t>
                      </a:r>
                    </a:p>
                  </a:txBody>
                  <a:tcPr marL="2858" marR="2858" marT="2858" marB="0" anchor="ctr">
                    <a:noFill/>
                  </a:tcPr>
                </a:tc>
                <a:tc>
                  <a:txBody>
                    <a:bodyPr/>
                    <a:lstStyle/>
                    <a:p>
                      <a:pPr algn="ctr" fontAlgn="ctr"/>
                      <a:r>
                        <a:rPr lang="en-CH" sz="600" b="0" i="0" u="none" strike="noStrike">
                          <a:solidFill>
                            <a:schemeClr val="tx1"/>
                          </a:solidFill>
                          <a:effectLst/>
                          <a:latin typeface="Nexa Book"/>
                        </a:rPr>
                        <a:t>28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Mazzancolle</a:t>
                      </a:r>
                      <a:r>
                        <a:rPr lang="fr-CH" sz="600" b="0" i="0" u="none" strike="noStrike">
                          <a:solidFill>
                            <a:schemeClr val="tx1"/>
                          </a:solidFill>
                          <a:effectLst/>
                          <a:latin typeface="Nexa Book"/>
                        </a:rPr>
                        <a:t>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5.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9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1’9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9%</a:t>
                      </a:r>
                    </a:p>
                  </a:txBody>
                  <a:tcPr marL="2858" marR="2858" marT="2858" marB="0" anchor="ctr">
                    <a:noFill/>
                  </a:tcPr>
                </a:tc>
                <a:tc>
                  <a:txBody>
                    <a:bodyPr/>
                    <a:lstStyle/>
                    <a:p>
                      <a:pPr algn="ctr" fontAlgn="ctr"/>
                      <a:r>
                        <a:rPr lang="en-CH" sz="600" b="0" i="0" u="none" strike="noStrike">
                          <a:solidFill>
                            <a:schemeClr val="tx1"/>
                          </a:solidFill>
                          <a:effectLst/>
                          <a:latin typeface="Nexa Book"/>
                        </a:rPr>
                        <a:t>79%</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75435</a:t>
                      </a:r>
                    </a:p>
                  </a:txBody>
                  <a:tcPr marL="2858" marR="2858" marT="2858" marB="0" anchor="ctr">
                    <a:noFill/>
                  </a:tcPr>
                </a:tc>
                <a:tc>
                  <a:txBody>
                    <a:bodyPr/>
                    <a:lstStyle/>
                    <a:p>
                      <a:pPr algn="ctr" fontAlgn="ctr"/>
                      <a:r>
                        <a:rPr lang="en-CH" sz="600" b="0" i="0" u="none" strike="noStrike">
                          <a:solidFill>
                            <a:schemeClr val="tx1"/>
                          </a:solidFill>
                          <a:effectLst/>
                          <a:latin typeface="Nexa Book"/>
                        </a:rPr>
                        <a:t>24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it-IT" sz="600" b="0" i="0" u="none" strike="noStrike">
                          <a:solidFill>
                            <a:schemeClr val="tx1"/>
                          </a:solidFill>
                          <a:effectLst/>
                          <a:latin typeface="Nexa Book"/>
                        </a:rPr>
                        <a:t>Arbi Dario Spa Misto Scoglio Bianco 4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 €      5.1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6’9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28%</a:t>
                      </a:r>
                    </a:p>
                  </a:txBody>
                  <a:tcPr marL="2858" marR="2858" marT="2858" marB="0" anchor="ctr">
                    <a:noFill/>
                  </a:tcPr>
                </a:tc>
                <a:tc>
                  <a:txBody>
                    <a:bodyPr/>
                    <a:lstStyle/>
                    <a:p>
                      <a:pPr algn="ctr" fontAlgn="ctr"/>
                      <a:r>
                        <a:rPr lang="en-CH" sz="600" b="0" i="0" u="none" strike="noStrike">
                          <a:solidFill>
                            <a:schemeClr val="tx1"/>
                          </a:solidFill>
                          <a:effectLst/>
                          <a:latin typeface="Nexa Book"/>
                        </a:rPr>
                        <a:t>18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135</a:t>
                      </a:r>
                    </a:p>
                  </a:txBody>
                  <a:tcPr marL="2858" marR="2858" marT="2858" marB="0" anchor="ctr">
                    <a:noFill/>
                  </a:tcPr>
                </a:tc>
                <a:tc>
                  <a:txBody>
                    <a:bodyPr/>
                    <a:lstStyle/>
                    <a:p>
                      <a:pPr algn="ctr" fontAlgn="ctr"/>
                      <a:r>
                        <a:rPr lang="en-CH" sz="600" b="0" i="0" u="none" strike="noStrike">
                          <a:solidFill>
                            <a:schemeClr val="tx1"/>
                          </a:solidFill>
                          <a:effectLst/>
                          <a:latin typeface="Nexa Book"/>
                        </a:rPr>
                        <a:t>22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8%</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algn="ctr" fontAlgn="ctr"/>
                      <a:r>
                        <a:rPr lang="en-CH" sz="600" b="0" i="0" u="none" strike="noStrike">
                          <a:solidFill>
                            <a:schemeClr val="tx1"/>
                          </a:solidFill>
                          <a:effectLst/>
                          <a:latin typeface="Nexa Book"/>
                        </a:rPr>
                        <a:t> €   14.5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2’34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261%</a:t>
                      </a:r>
                    </a:p>
                  </a:txBody>
                  <a:tcPr marL="2858" marR="2858" marT="2858" marB="0" anchor="ctr">
                    <a:noFill/>
                  </a:tcPr>
                </a:tc>
                <a:tc>
                  <a:txBody>
                    <a:bodyPr/>
                    <a:lstStyle/>
                    <a:p>
                      <a:pPr algn="ctr" fontAlgn="ctr"/>
                      <a:r>
                        <a:rPr lang="en-CH" sz="600" b="0" i="0" u="none" strike="noStrike">
                          <a:solidFill>
                            <a:schemeClr val="tx1"/>
                          </a:solidFill>
                          <a:effectLst/>
                          <a:latin typeface="Nexa Book"/>
                        </a:rPr>
                        <a:t>37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34</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fontAlgn="ctr"/>
                      <a:r>
                        <a:rPr lang="fr-CH" sz="600" b="0" i="0" u="none" strike="noStrike" dirty="0" err="1">
                          <a:solidFill>
                            <a:schemeClr val="tx1"/>
                          </a:solidFill>
                          <a:effectLst/>
                          <a:latin typeface="Nexa Book"/>
                        </a:rPr>
                        <a:t>Fandicosta</a:t>
                      </a:r>
                      <a:endParaRPr lang="fr-CH" sz="600" b="0" i="0" u="none" strike="noStrike" dirty="0">
                        <a:solidFill>
                          <a:schemeClr val="tx1"/>
                        </a:solidFill>
                        <a:effectLst/>
                        <a:latin typeface="Nexa Book"/>
                      </a:endParaRPr>
                    </a:p>
                  </a:txBody>
                  <a:tcPr marL="2858" marR="2858" marT="2858" marB="0" anchor="ctr">
                    <a:noFill/>
                  </a:tcPr>
                </a:tc>
                <a:tc>
                  <a:txBody>
                    <a:bodyPr/>
                    <a:lstStyle/>
                    <a:p>
                      <a:pPr algn="l" fontAlgn="ctr"/>
                      <a:r>
                        <a:rPr lang="it-IT" sz="600" b="0" i="0" u="none" strike="noStrike" dirty="0">
                          <a:solidFill>
                            <a:schemeClr val="tx1"/>
                          </a:solidFill>
                          <a:effectLst/>
                          <a:latin typeface="Nexa Book"/>
                        </a:rPr>
                        <a:t>Fandicosta Fillets Nasello Bk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0%</a:t>
                      </a:r>
                    </a:p>
                  </a:txBody>
                  <a:tcPr marL="2858" marR="2858" marT="2858" marB="0" anchor="ctr">
                    <a:noFill/>
                  </a:tcPr>
                </a:tc>
                <a:tc>
                  <a:txBody>
                    <a:bodyPr/>
                    <a:lstStyle/>
                    <a:p>
                      <a:pPr algn="ctr" fontAlgn="ctr"/>
                      <a:r>
                        <a:rPr lang="en-CH" sz="600" b="0" i="0" u="none" strike="noStrike">
                          <a:solidFill>
                            <a:schemeClr val="tx1"/>
                          </a:solidFill>
                          <a:effectLst/>
                          <a:latin typeface="Nexa Book"/>
                        </a:rPr>
                        <a:t> €      5.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3’55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6%</a:t>
                      </a: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35</a:t>
                      </a:r>
                    </a:p>
                  </a:txBody>
                  <a:tcPr marL="2858" marR="2858" marT="2858" marB="0" anchor="ctr">
                    <a:noFill/>
                  </a:tcPr>
                </a:tc>
                <a:tc>
                  <a:txBody>
                    <a:bodyPr/>
                    <a:lstStyle/>
                    <a:p>
                      <a:pPr algn="ctr" fontAlgn="ctr"/>
                      <a:r>
                        <a:rPr lang="en-CH" sz="600" b="0" i="0" u="none" strike="noStrike">
                          <a:solidFill>
                            <a:schemeClr val="tx1"/>
                          </a:solidFill>
                          <a:effectLst/>
                          <a:latin typeface="Nexa Book"/>
                        </a:rPr>
                        <a:t>216%</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D Alaska Chips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35%</a:t>
                      </a:r>
                    </a:p>
                  </a:txBody>
                  <a:tcPr marL="2858" marR="2858" marT="2858" marB="0" anchor="ctr">
                    <a:noFill/>
                  </a:tcPr>
                </a:tc>
                <a:tc>
                  <a:txBody>
                    <a:bodyPr/>
                    <a:lstStyle/>
                    <a:p>
                      <a:pPr algn="ctr" fontAlgn="ctr"/>
                      <a:r>
                        <a:rPr lang="en-CH" sz="600" b="0" i="0" u="none" strike="noStrike">
                          <a:solidFill>
                            <a:schemeClr val="tx1"/>
                          </a:solidFill>
                          <a:effectLst/>
                          <a:latin typeface="Nexa Book"/>
                        </a:rPr>
                        <a:t> €      3.4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7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8’02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1%</a:t>
                      </a:r>
                    </a:p>
                  </a:txBody>
                  <a:tcPr marL="2858" marR="2858" marT="2858" marB="0" anchor="ctr">
                    <a:noFill/>
                  </a:tcPr>
                </a:tc>
                <a:tc>
                  <a:txBody>
                    <a:bodyPr/>
                    <a:lstStyle/>
                    <a:p>
                      <a:pPr algn="ctr" fontAlgn="ctr"/>
                      <a:r>
                        <a:rPr lang="en-CH" sz="600" b="0" i="0" u="none" strike="noStrike">
                          <a:solidFill>
                            <a:schemeClr val="tx1"/>
                          </a:solidFill>
                          <a:effectLst/>
                          <a:latin typeface="Nexa Book"/>
                        </a:rPr>
                        <a:t>94%</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535</a:t>
                      </a:r>
                    </a:p>
                  </a:txBody>
                  <a:tcPr marL="2858" marR="2858" marT="2858" marB="0" anchor="ctr">
                    <a:noFill/>
                  </a:tcPr>
                </a:tc>
                <a:tc>
                  <a:txBody>
                    <a:bodyPr/>
                    <a:lstStyle/>
                    <a:p>
                      <a:pPr algn="ctr" fontAlgn="ctr"/>
                      <a:r>
                        <a:rPr lang="en-CH" sz="600" b="0" i="0" u="none" strike="noStrike">
                          <a:solidFill>
                            <a:schemeClr val="tx1"/>
                          </a:solidFill>
                          <a:effectLst/>
                          <a:latin typeface="Nexa Book"/>
                        </a:rPr>
                        <a:t>20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llets Merluzzo Bk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7%</a:t>
                      </a:r>
                    </a:p>
                  </a:txBody>
                  <a:tcPr marL="2858" marR="2858" marT="2858" marB="0" anchor="ctr">
                    <a:noFill/>
                  </a:tcPr>
                </a:tc>
                <a:tc>
                  <a:txBody>
                    <a:bodyPr/>
                    <a:lstStyle/>
                    <a:p>
                      <a:pPr algn="ctr" fontAlgn="ctr"/>
                      <a:r>
                        <a:rPr lang="en-CH" sz="600" b="0" i="0" u="none" strike="noStrike">
                          <a:solidFill>
                            <a:schemeClr val="tx1"/>
                          </a:solidFill>
                          <a:effectLst/>
                          <a:latin typeface="Nexa Book"/>
                        </a:rPr>
                        <a:t>37%</a:t>
                      </a:r>
                    </a:p>
                  </a:txBody>
                  <a:tcPr marL="2858" marR="2858" marT="2858" marB="0" anchor="ctr">
                    <a:noFill/>
                  </a:tcPr>
                </a:tc>
                <a:tc>
                  <a:txBody>
                    <a:bodyPr/>
                    <a:lstStyle/>
                    <a:p>
                      <a:pPr algn="ctr" fontAlgn="ctr"/>
                      <a:r>
                        <a:rPr lang="en-CH" sz="600" b="0" i="0" u="none" strike="noStrike">
                          <a:solidFill>
                            <a:schemeClr val="tx1"/>
                          </a:solidFill>
                          <a:effectLst/>
                          <a:latin typeface="Nexa Book"/>
                        </a:rPr>
                        <a:t> €      4.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8’3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33%</a:t>
                      </a: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835</a:t>
                      </a:r>
                    </a:p>
                  </a:txBody>
                  <a:tcPr marL="2858" marR="2858" marT="2858" marB="0" anchor="ctr">
                    <a:noFill/>
                  </a:tcPr>
                </a:tc>
                <a:tc>
                  <a:txBody>
                    <a:bodyPr/>
                    <a:lstStyle/>
                    <a:p>
                      <a:pPr algn="ctr" fontAlgn="ctr"/>
                      <a:r>
                        <a:rPr lang="en-CH" sz="600" b="0" i="0" u="none" strike="noStrike">
                          <a:solidFill>
                            <a:schemeClr val="tx1"/>
                          </a:solidFill>
                          <a:effectLst/>
                          <a:latin typeface="Nexa Book"/>
                        </a:rPr>
                        <a:t>204%</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atinata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5%</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3.0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2’02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81%</a:t>
                      </a:r>
                    </a:p>
                  </a:txBody>
                  <a:tcPr marL="2858" marR="2858" marT="2858" marB="0" anchor="ctr">
                    <a:noFill/>
                  </a:tcPr>
                </a:tc>
                <a:tc>
                  <a:txBody>
                    <a:bodyPr/>
                    <a:lstStyle/>
                    <a:p>
                      <a:pPr algn="ctr" fontAlgn="ctr"/>
                      <a:r>
                        <a:rPr lang="en-CH" sz="600" b="0" i="0" u="none" strike="noStrike">
                          <a:solidFill>
                            <a:schemeClr val="tx1"/>
                          </a:solidFill>
                          <a:effectLst/>
                          <a:latin typeface="Nexa Book"/>
                        </a:rPr>
                        <a:t>26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4035</a:t>
                      </a:r>
                    </a:p>
                  </a:txBody>
                  <a:tcPr marL="2858" marR="2858" marT="2858" marB="0" anchor="ctr">
                    <a:noFill/>
                  </a:tcPr>
                </a:tc>
                <a:tc>
                  <a:txBody>
                    <a:bodyPr/>
                    <a:lstStyle/>
                    <a:p>
                      <a:pPr algn="ctr" fontAlgn="ctr"/>
                      <a:r>
                        <a:rPr lang="en-CH" sz="600" b="0" i="0" u="none" strike="noStrike">
                          <a:solidFill>
                            <a:schemeClr val="tx1"/>
                          </a:solidFill>
                          <a:effectLst/>
                          <a:latin typeface="Nexa Book"/>
                        </a:rPr>
                        <a:t>201%</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Pollack Alaska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31%</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3.81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7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4%</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3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9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igliato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39%</a:t>
                      </a: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5’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19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Gamberetti 2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4.8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4’85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8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3</a:t>
                      </a:r>
                    </a:p>
                  </a:txBody>
                  <a:tcPr marL="2858" marR="2858" marT="2858" marB="0" anchor="ctr">
                    <a:noFill/>
                  </a:tcPr>
                </a:tc>
                <a:tc>
                  <a:txBody>
                    <a:bodyPr/>
                    <a:lstStyle/>
                    <a:p>
                      <a:pPr algn="ctr" fontAlgn="ctr"/>
                      <a:r>
                        <a:rPr lang="en-CH" sz="600" b="0" i="0" u="none" strike="noStrike">
                          <a:solidFill>
                            <a:schemeClr val="tx1"/>
                          </a:solidFill>
                          <a:effectLst/>
                          <a:latin typeface="Nexa Book"/>
                        </a:rPr>
                        <a:t>1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Standard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4%</a:t>
                      </a:r>
                    </a:p>
                  </a:txBody>
                  <a:tcPr marL="2858" marR="2858" marT="2858" marB="0" anchor="ctr">
                    <a:noFill/>
                  </a:tcPr>
                </a:tc>
                <a:tc>
                  <a:txBody>
                    <a:bodyPr/>
                    <a:lstStyle/>
                    <a:p>
                      <a:pPr algn="ctr" fontAlgn="ctr"/>
                      <a:r>
                        <a:rPr lang="en-CH" sz="600" b="0" i="0" u="none" strike="noStrike">
                          <a:solidFill>
                            <a:schemeClr val="tx1"/>
                          </a:solidFill>
                          <a:effectLst/>
                          <a:latin typeface="Nexa Book"/>
                        </a:rPr>
                        <a:t> €      3.3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6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28’888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Fish Fingers Merluzzo 7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9%</a:t>
                      </a:r>
                    </a:p>
                  </a:txBody>
                  <a:tcPr marL="2858" marR="2858" marT="2858" marB="0" anchor="ctr">
                    <a:noFill/>
                  </a:tcPr>
                </a:tc>
                <a:tc>
                  <a:txBody>
                    <a:bodyPr/>
                    <a:lstStyle/>
                    <a:p>
                      <a:pPr algn="ctr" fontAlgn="ctr"/>
                      <a:r>
                        <a:rPr lang="en-CH" sz="600" b="0" i="0" u="none" strike="noStrike">
                          <a:solidFill>
                            <a:schemeClr val="tx1"/>
                          </a:solidFill>
                          <a:effectLst/>
                          <a:latin typeface="Nexa Book"/>
                        </a:rPr>
                        <a:t>60%</a:t>
                      </a:r>
                    </a:p>
                  </a:txBody>
                  <a:tcPr marL="2858" marR="2858" marT="2858" marB="0" anchor="ctr">
                    <a:noFill/>
                  </a:tcPr>
                </a:tc>
                <a:tc>
                  <a:txBody>
                    <a:bodyPr/>
                    <a:lstStyle/>
                    <a:p>
                      <a:pPr algn="ctr" fontAlgn="ctr"/>
                      <a:r>
                        <a:rPr lang="en-CH" sz="600" b="0" i="0" u="none" strike="noStrike">
                          <a:solidFill>
                            <a:schemeClr val="tx1"/>
                          </a:solidFill>
                          <a:effectLst/>
                          <a:latin typeface="Nexa Book"/>
                        </a:rPr>
                        <a:t> €      7.2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1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85’3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63%</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a:solidFill>
                            <a:schemeClr val="tx1"/>
                          </a:solidFill>
                          <a:effectLst/>
                          <a:latin typeface="Nexa Book"/>
                        </a:rPr>
                        <a:t>58%</a:t>
                      </a:r>
                    </a:p>
                  </a:txBody>
                  <a:tcPr marL="2858" marR="2858" marT="2858" marB="0" anchor="ctr">
                    <a:noFill/>
                  </a:tcPr>
                </a:tc>
                <a:tc>
                  <a:txBody>
                    <a:bodyPr/>
                    <a:lstStyle/>
                    <a:p>
                      <a:pPr algn="ctr" fontAlgn="ctr"/>
                      <a:r>
                        <a:rPr lang="en-CH" sz="600" b="0" i="0" u="none" strike="noStrike">
                          <a:solidFill>
                            <a:schemeClr val="tx1"/>
                          </a:solidFill>
                          <a:effectLst/>
                          <a:latin typeface="Nexa Book"/>
                        </a:rPr>
                        <a:t> €      7.3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6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81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a:t>
                      </a:r>
                    </a:p>
                  </a:txBody>
                  <a:tcPr marL="2858" marR="2858" marT="2858" marB="0" anchor="ctr">
                    <a:noFill/>
                  </a:tcPr>
                </a:tc>
                <a:tc>
                  <a:txBody>
                    <a:bodyPr/>
                    <a:lstStyle/>
                    <a:p>
                      <a:pPr algn="ctr" fontAlgn="ctr"/>
                      <a:r>
                        <a:rPr lang="en-CH" sz="600" b="0" i="0" u="none" strike="noStrike">
                          <a:solidFill>
                            <a:schemeClr val="tx1"/>
                          </a:solidFill>
                          <a:effectLst/>
                          <a:latin typeface="Nexa Book"/>
                        </a:rPr>
                        <a:t>18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sh Fingers Merluzzo Bk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49%</a:t>
                      </a:r>
                    </a:p>
                  </a:txBody>
                  <a:tcPr marL="2858" marR="2858" marT="2858" marB="0" anchor="ctr">
                    <a:noFill/>
                  </a:tcPr>
                </a:tc>
                <a:tc>
                  <a:txBody>
                    <a:bodyPr/>
                    <a:lstStyle/>
                    <a:p>
                      <a:pPr algn="ctr" fontAlgn="ctr"/>
                      <a:r>
                        <a:rPr lang="en-CH" sz="600" b="0" i="0" u="none" strike="noStrike">
                          <a:solidFill>
                            <a:schemeClr val="tx1"/>
                          </a:solidFill>
                          <a:effectLst/>
                          <a:latin typeface="Nexa Book"/>
                        </a:rPr>
                        <a:t> €      2.3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9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0’82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9</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Salmone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4.0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6’2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92%</a:t>
                      </a:r>
                    </a:p>
                  </a:txBody>
                  <a:tcPr marL="2858" marR="2858" marT="2858" marB="0" anchor="ctr">
                    <a:noFill/>
                  </a:tcPr>
                </a:tc>
                <a:tc>
                  <a:txBody>
                    <a:bodyPr/>
                    <a:lstStyle/>
                    <a:p>
                      <a:pPr algn="ctr" fontAlgn="ctr"/>
                      <a:r>
                        <a:rPr lang="en-CH" sz="600" b="0" i="0" u="none" strike="noStrike">
                          <a:solidFill>
                            <a:schemeClr val="tx1"/>
                          </a:solidFill>
                          <a:effectLst/>
                          <a:latin typeface="Nexa Book"/>
                        </a:rPr>
                        <a:t>136%</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4%</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Mazzancolle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9%</a:t>
                      </a:r>
                    </a:p>
                  </a:txBody>
                  <a:tcPr marL="2858" marR="2858" marT="2858" marB="0" anchor="ctr">
                    <a:noFill/>
                  </a:tcPr>
                </a:tc>
                <a:tc>
                  <a:txBody>
                    <a:bodyPr/>
                    <a:lstStyle/>
                    <a:p>
                      <a:pPr algn="ctr" fontAlgn="ctr"/>
                      <a:r>
                        <a:rPr lang="en-CH" sz="600" b="0" i="0" u="none" strike="noStrike">
                          <a:solidFill>
                            <a:schemeClr val="tx1"/>
                          </a:solidFill>
                          <a:effectLst/>
                          <a:latin typeface="Nexa Book"/>
                        </a:rPr>
                        <a:t>38%</a:t>
                      </a:r>
                    </a:p>
                  </a:txBody>
                  <a:tcPr marL="2858" marR="2858" marT="2858" marB="0" anchor="ctr">
                    <a:noFill/>
                  </a:tcPr>
                </a:tc>
                <a:tc>
                  <a:txBody>
                    <a:bodyPr/>
                    <a:lstStyle/>
                    <a:p>
                      <a:pPr algn="ctr" fontAlgn="ctr"/>
                      <a:r>
                        <a:rPr lang="en-CH" sz="600" b="0" i="0" u="none" strike="noStrike">
                          <a:solidFill>
                            <a:schemeClr val="tx1"/>
                          </a:solidFill>
                          <a:effectLst/>
                          <a:latin typeface="Nexa Book"/>
                        </a:rPr>
                        <a:t> €      7.1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7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40’6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48%</a:t>
                      </a:r>
                    </a:p>
                  </a:txBody>
                  <a:tcPr marL="2858" marR="2858" marT="2858" marB="0" anchor="ctr">
                    <a:noFill/>
                  </a:tcPr>
                </a:tc>
                <a:tc>
                  <a:txBody>
                    <a:bodyPr/>
                    <a:lstStyle/>
                    <a:p>
                      <a:pPr algn="ctr" fontAlgn="ctr"/>
                      <a:r>
                        <a:rPr lang="en-CH" sz="600" b="0" i="0" u="none" strike="noStrike">
                          <a:solidFill>
                            <a:schemeClr val="tx1"/>
                          </a:solidFill>
                          <a:effectLst/>
                          <a:latin typeface="Nexa Book"/>
                        </a:rPr>
                        <a:t>7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82</a:t>
                      </a:r>
                    </a:p>
                  </a:txBody>
                  <a:tcPr marL="2858" marR="2858" marT="2858" marB="0" anchor="ctr">
                    <a:noFill/>
                  </a:tcPr>
                </a:tc>
                <a:tc>
                  <a:txBody>
                    <a:bodyPr/>
                    <a:lstStyle/>
                    <a:p>
                      <a:pPr algn="ctr" fontAlgn="ctr"/>
                      <a:r>
                        <a:rPr lang="en-CH" sz="600" b="0" i="0" u="none" strike="noStrike">
                          <a:solidFill>
                            <a:schemeClr val="tx1"/>
                          </a:solidFill>
                          <a:effectLst/>
                          <a:latin typeface="Nexa Book"/>
                        </a:rPr>
                        <a:t>182%</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fr-CH" sz="600" b="0" i="0" u="none" strike="noStrike">
                          <a:solidFill>
                            <a:schemeClr val="tx1"/>
                          </a:solidFill>
                          <a:effectLst/>
                          <a:latin typeface="Nexa Book"/>
                        </a:rPr>
                        <a:t>Arbi Dario Spa Fish Salsa Crostace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4’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90</a:t>
                      </a:r>
                    </a:p>
                  </a:txBody>
                  <a:tcPr marL="2858" marR="2858" marT="2858" marB="0" anchor="ctr">
                    <a:noFill/>
                  </a:tcPr>
                </a:tc>
                <a:tc>
                  <a:txBody>
                    <a:bodyPr/>
                    <a:lstStyle/>
                    <a:p>
                      <a:pPr algn="ctr" fontAlgn="ctr"/>
                      <a:r>
                        <a:rPr lang="en-CH" sz="600" b="0" i="0" u="none" strike="noStrike">
                          <a:solidFill>
                            <a:schemeClr val="tx1"/>
                          </a:solidFill>
                          <a:effectLst/>
                          <a:latin typeface="Nexa Book"/>
                        </a:rPr>
                        <a:t>17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28936995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9DC54F4-FA62-467D-956C-561D8E4CAD18}">
  <ds:schemaRefs>
    <ds:schemaRef ds:uri="474cf4e4-8a51-432b-9e1b-0ea607ac38ff"/>
    <ds:schemaRef ds:uri="http://purl.org/dc/elements/1.1/"/>
    <ds:schemaRef ds:uri="http://www.w3.org/XML/1998/namespace"/>
    <ds:schemaRef ds:uri="http://schemas.microsoft.com/office/infopath/2007/PartnerControls"/>
    <ds:schemaRef ds:uri="http://purl.org/dc/dcmitype/"/>
    <ds:schemaRef ds:uri="http://schemas.microsoft.com/office/2006/documentManagement/types"/>
    <ds:schemaRef ds:uri="0ad93b7f-b0cd-4c46-aaaf-ff14495948cf"/>
    <ds:schemaRef ds:uri="http://schemas.microsoft.com/office/2006/metadata/properties"/>
    <ds:schemaRef ds:uri="http://schemas.openxmlformats.org/package/2006/metadata/core-properties"/>
    <ds:schemaRef ds:uri="http://purl.org/dc/terms/"/>
  </ds:schemaRefs>
</ds:datastoreItem>
</file>

<file path=customXml/itemProps2.xml><?xml version="1.0" encoding="utf-8"?>
<ds:datastoreItem xmlns:ds="http://schemas.openxmlformats.org/officeDocument/2006/customXml" ds:itemID="{B7551193-7C66-436D-8ABA-4B99F0776D1A}">
  <ds:schemaRefs>
    <ds:schemaRef ds:uri="http://schemas.microsoft.com/sharepoint/v3/contenttype/forms"/>
  </ds:schemaRefs>
</ds:datastoreItem>
</file>

<file path=customXml/itemProps3.xml><?xml version="1.0" encoding="utf-8"?>
<ds:datastoreItem xmlns:ds="http://schemas.openxmlformats.org/officeDocument/2006/customXml" ds:itemID="{B4CCBFC5-8914-480B-85D5-05E1FE2691B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0</TotalTime>
  <Words>3863</Words>
  <Application>Microsoft Office PowerPoint</Application>
  <PresentationFormat>On-screen Show (16:9)</PresentationFormat>
  <Paragraphs>1419</Paragraphs>
  <Slides>31</Slides>
  <Notes>11</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31</vt:i4>
      </vt:variant>
    </vt:vector>
  </HeadingPairs>
  <TitlesOfParts>
    <vt:vector size="44" baseType="lpstr">
      <vt:lpstr>Aptos</vt:lpstr>
      <vt:lpstr>Arial</vt:lpstr>
      <vt:lpstr>Calibri</vt:lpstr>
      <vt:lpstr>Nexa</vt:lpstr>
      <vt:lpstr>Nexa Bold</vt:lpstr>
      <vt:lpstr>Nexa Bold (Headings)</vt:lpstr>
      <vt:lpstr>Nexa Book</vt:lpstr>
      <vt:lpstr>Nexa Book Italic</vt:lpstr>
      <vt:lpstr>Nexa-RegularItalic</vt:lpstr>
      <vt:lpstr>Open Sans</vt:lpstr>
      <vt:lpstr>Raleway</vt:lpstr>
      <vt:lpstr>PricingOne Light Template Oct 2024</vt:lpstr>
      <vt:lpstr>think-cell Slide</vt:lpstr>
      <vt:lpstr>Promo Value Sales (Replace With SO WHAT)</vt:lpstr>
      <vt:lpstr>Promo evolution (Replace With SO WHAT)</vt:lpstr>
      <vt:lpstr>VSOD Summary by Sector (Replace With SO WHAT)</vt:lpstr>
      <vt:lpstr>Value uplift by retailer by brand (Replace With SO WHAT)</vt:lpstr>
      <vt:lpstr>Volume Uplift vs discount depth (Replace With SO WHAT)</vt:lpstr>
      <vt:lpstr>Value Uplift vs Promo Efficiency Quadrant (Replace With SO WHAT)</vt:lpstr>
      <vt:lpstr>Top 20 promotions (Replace With SO WHAT)</vt:lpstr>
      <vt:lpstr>Top 20 promotions CLIENT ONLY (Replace With SO WHAT)</vt:lpstr>
      <vt:lpstr>Bottom 20 promotions CLIENT ONLY (Replace With SO WHAT)</vt:lpstr>
      <vt:lpstr>Volume Sold on Deal (Replace With SO WHAT)</vt:lpstr>
      <vt:lpstr>Promo share vs Value Share (Replace With SO WHAT)</vt:lpstr>
      <vt:lpstr>Promo Sales by total size (Replace With SO WHAT)</vt:lpstr>
      <vt:lpstr>Promo Sales by promo type (Replace With SO WHAT)</vt:lpstr>
      <vt:lpstr>Feature Share vs. Fair Share (Replace With SO WHAT)</vt:lpstr>
      <vt:lpstr>Display Share vs. Fair Share (Replace With SO WHAT)</vt:lpstr>
      <vt:lpstr>Promo Frequency learnings (Replace With SO WHAT)</vt:lpstr>
      <vt:lpstr>Promo sales per retailer (Replace With SO WHAT)</vt:lpstr>
      <vt:lpstr>Promo sales per retailer (Replace With SO WHAT)</vt:lpstr>
      <vt:lpstr>Promo sales per retailer (Replace With SO WHAT)</vt:lpstr>
      <vt:lpstr>Promo sales per retailer (Replace With SO WHAT)</vt:lpstr>
      <vt:lpstr>Value Uplift vs discount depth (Replace With SO WHAT)</vt:lpstr>
      <vt:lpstr>Seasonality Index (Replace with SO WHAT)</vt:lpstr>
      <vt:lpstr>Seasonality Index (Replace with SO WHAT)</vt:lpstr>
      <vt:lpstr>Seasonality Index (Replace with SO WHAT)</vt:lpstr>
      <vt:lpstr>Seasonality Index (Replace with SO WHAT)</vt:lpstr>
      <vt:lpstr>Seasonality Index (Replace with SO WHAT)</vt:lpstr>
      <vt:lpstr>Seasonality Index (Replace with SO WHAT)</vt:lpstr>
      <vt:lpstr>Promotional Frequency Analysis (Replace with So What)</vt:lpstr>
      <vt:lpstr>Promotional Frequency Analysis (Replace with So What)</vt:lpstr>
      <vt:lpstr>Promotional Frequency Analysis (Replace with So What)</vt:lpstr>
      <vt:lpstr>Promotional Frequency Analysis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Bhagya RANASINGHE</dc:creator>
  <cp:lastModifiedBy>Sophie  ZIMMERMANN</cp:lastModifiedBy>
  <cp:revision>41</cp:revision>
  <dcterms:created xsi:type="dcterms:W3CDTF">2024-07-08T12:46:55Z</dcterms:created>
  <dcterms:modified xsi:type="dcterms:W3CDTF">2025-01-27T13:45: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